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4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5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6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7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  <p:sldMasterId id="2147483684" r:id="rId2"/>
  </p:sldMasterIdLst>
  <p:notesMasterIdLst>
    <p:notesMasterId r:id="rId11"/>
  </p:notesMasterIdLst>
  <p:handoutMasterIdLst>
    <p:handoutMasterId r:id="rId12"/>
  </p:handoutMasterIdLst>
  <p:sldIdLst>
    <p:sldId id="270" r:id="rId3"/>
    <p:sldId id="261" r:id="rId4"/>
    <p:sldId id="266" r:id="rId5"/>
    <p:sldId id="264" r:id="rId6"/>
    <p:sldId id="265" r:id="rId7"/>
    <p:sldId id="267" r:id="rId8"/>
    <p:sldId id="260" r:id="rId9"/>
    <p:sldId id="269" r:id="rId10"/>
  </p:sldIdLst>
  <p:sldSz cx="10058400" cy="7772400"/>
  <p:notesSz cx="7023100" cy="93091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obrega, Suzanne" initials="NS" lastIdx="5" clrIdx="0">
    <p:extLst>
      <p:ext uri="{19B8F6BF-5375-455C-9EA6-DF929625EA0E}">
        <p15:presenceInfo xmlns:p15="http://schemas.microsoft.com/office/powerpoint/2012/main" userId="S-1-5-21-1891702622-1312184900-313593124-11402" providerId="AD"/>
      </p:ext>
    </p:extLst>
  </p:cmAuthor>
  <p:cmAuthor id="2" name="Morocho, Cesar F" initials="MCF" lastIdx="3" clrIdx="1">
    <p:extLst>
      <p:ext uri="{19B8F6BF-5375-455C-9EA6-DF929625EA0E}">
        <p15:presenceInfo xmlns:p15="http://schemas.microsoft.com/office/powerpoint/2012/main" userId="Morocho, Cesar F" providerId="None"/>
      </p:ext>
    </p:extLst>
  </p:cmAuthor>
  <p:cmAuthor id="3" name="Ward, Thomas" initials="WT" lastIdx="1" clrIdx="2">
    <p:extLst>
      <p:ext uri="{19B8F6BF-5375-455C-9EA6-DF929625EA0E}">
        <p15:presenceInfo xmlns:p15="http://schemas.microsoft.com/office/powerpoint/2012/main" userId="S-1-5-21-1021441493-1983897303-1052350511-11881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F0"/>
    <a:srgbClr val="0070C0"/>
    <a:srgbClr val="D5F4FF"/>
    <a:srgbClr val="F3EBF9"/>
    <a:srgbClr val="9FE6FF"/>
    <a:srgbClr val="BDEEFF"/>
    <a:srgbClr val="E1CCF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4573" autoAdjust="0"/>
    <p:restoredTop sz="86421" autoAdjust="0"/>
  </p:normalViewPr>
  <p:slideViewPr>
    <p:cSldViewPr snapToGrid="0">
      <p:cViewPr varScale="1">
        <p:scale>
          <a:sx n="85" d="100"/>
          <a:sy n="85" d="100"/>
        </p:scale>
        <p:origin x="-468" y="47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79" d="100"/>
          <a:sy n="79" d="100"/>
        </p:scale>
        <p:origin x="1982" y="77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commentAuthors" Target="commentAuthor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250247A-9B95-4917-A6B3-057643276864}" type="doc">
      <dgm:prSet loTypeId="urn:microsoft.com/office/officeart/2005/8/layout/hierarchy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9EB06AA-6583-41C7-9D35-E3D995B35C73}">
      <dgm:prSet phldrT="[Text]"/>
      <dgm:spPr>
        <a:solidFill>
          <a:srgbClr val="002060">
            <a:alpha val="90000"/>
          </a:srgbClr>
        </a:solidFill>
      </dgm:spPr>
      <dgm:t>
        <a:bodyPr/>
        <a:lstStyle/>
        <a:p>
          <a:r>
            <a:rPr lang="en-US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rPr>
            <a:t>Steering Committee</a:t>
          </a:r>
        </a:p>
      </dgm:t>
    </dgm:pt>
    <dgm:pt modelId="{2242FD3B-EC67-4E15-BB68-E7994FF2DD5C}" type="parTrans" cxnId="{18BBEADF-D2D0-4631-8032-5777F3E86998}">
      <dgm:prSet/>
      <dgm:spPr/>
      <dgm:t>
        <a:bodyPr/>
        <a:lstStyle/>
        <a:p>
          <a:endParaRPr lang="en-US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B6E5FD40-A0C8-45B7-AC0B-F9C8FEFA4EBF}" type="sibTrans" cxnId="{18BBEADF-D2D0-4631-8032-5777F3E86998}">
      <dgm:prSet/>
      <dgm:spPr/>
      <dgm:t>
        <a:bodyPr/>
        <a:lstStyle/>
        <a:p>
          <a:endParaRPr lang="en-US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76B5C5E7-1915-4509-BA2C-4C0F245AFAEE}">
      <dgm:prSet phldrT="[Text]"/>
      <dgm:spPr/>
      <dgm:t>
        <a:bodyPr/>
        <a:lstStyle/>
        <a:p>
          <a:r>
            <a:rPr lang="en-US" dirty="0">
              <a:solidFill>
                <a:srgbClr val="002060"/>
              </a:solidFill>
              <a:latin typeface="Verdana" panose="020B0604030504040204" pitchFamily="34" charset="0"/>
              <a:ea typeface="Verdana" panose="020B0604030504040204" pitchFamily="34" charset="0"/>
            </a:rPr>
            <a:t>Design Team 1 </a:t>
          </a:r>
        </a:p>
      </dgm:t>
    </dgm:pt>
    <dgm:pt modelId="{02ED0BD2-3188-4698-B9AD-E8200F6DC0E4}" type="parTrans" cxnId="{EB5065C1-2B98-4F07-92D6-243CA3B01250}">
      <dgm:prSet/>
      <dgm:spPr/>
      <dgm:t>
        <a:bodyPr/>
        <a:lstStyle/>
        <a:p>
          <a:endParaRPr lang="en-US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7AF88F85-006E-42F3-90F1-7A595FDFC86A}" type="sibTrans" cxnId="{EB5065C1-2B98-4F07-92D6-243CA3B01250}">
      <dgm:prSet/>
      <dgm:spPr/>
      <dgm:t>
        <a:bodyPr/>
        <a:lstStyle/>
        <a:p>
          <a:endParaRPr lang="en-US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FA6277CA-F5F3-45F3-95FB-0F37460DBA02}">
      <dgm:prSet phldrT="[Text]"/>
      <dgm:spPr/>
      <dgm:t>
        <a:bodyPr/>
        <a:lstStyle/>
        <a:p>
          <a:r>
            <a:rPr lang="en-US" dirty="0">
              <a:solidFill>
                <a:srgbClr val="002060"/>
              </a:solidFill>
              <a:latin typeface="Verdana" panose="020B0604030504040204" pitchFamily="34" charset="0"/>
              <a:ea typeface="Verdana" panose="020B0604030504040204" pitchFamily="34" charset="0"/>
            </a:rPr>
            <a:t>Design Team 2</a:t>
          </a:r>
        </a:p>
      </dgm:t>
    </dgm:pt>
    <dgm:pt modelId="{5BE92B62-3C0A-47AB-8DAA-CA977FCC4EED}" type="parTrans" cxnId="{D8B54211-0340-4F44-8599-868F4CF9268E}">
      <dgm:prSet/>
      <dgm:spPr/>
      <dgm:t>
        <a:bodyPr/>
        <a:lstStyle/>
        <a:p>
          <a:endParaRPr lang="en-US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A1116662-E885-4ACD-9B09-84460253FE44}" type="sibTrans" cxnId="{D8B54211-0340-4F44-8599-868F4CF9268E}">
      <dgm:prSet/>
      <dgm:spPr/>
      <dgm:t>
        <a:bodyPr/>
        <a:lstStyle/>
        <a:p>
          <a:endParaRPr lang="en-US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139AD1FF-0C41-4974-A785-E286A2712B19}">
      <dgm:prSet phldrT="[Text]"/>
      <dgm:spPr/>
      <dgm:t>
        <a:bodyPr/>
        <a:lstStyle/>
        <a:p>
          <a:r>
            <a:rPr lang="en-US" dirty="0">
              <a:solidFill>
                <a:srgbClr val="002060"/>
              </a:solidFill>
              <a:latin typeface="Verdana" panose="020B0604030504040204" pitchFamily="34" charset="0"/>
              <a:ea typeface="Verdana" panose="020B0604030504040204" pitchFamily="34" charset="0"/>
            </a:rPr>
            <a:t>Design Team 3</a:t>
          </a:r>
        </a:p>
      </dgm:t>
    </dgm:pt>
    <dgm:pt modelId="{6CEC7FF1-18EF-4682-9C3C-1F9DF77FEB17}" type="parTrans" cxnId="{45F03EB6-CD4E-460B-A0A4-7C42ED9D4148}">
      <dgm:prSet/>
      <dgm:spPr/>
      <dgm:t>
        <a:bodyPr/>
        <a:lstStyle/>
        <a:p>
          <a:endParaRPr lang="en-US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017814FA-F23A-4011-95F5-B3D39D6B1F09}" type="sibTrans" cxnId="{45F03EB6-CD4E-460B-A0A4-7C42ED9D4148}">
      <dgm:prSet/>
      <dgm:spPr/>
      <dgm:t>
        <a:bodyPr/>
        <a:lstStyle/>
        <a:p>
          <a:endParaRPr lang="en-US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62CE93D3-C0FA-4B5A-9DAE-FBC3FBAE549D}">
      <dgm:prSet phldrT="[Text]"/>
      <dgm:spPr/>
      <dgm:t>
        <a:bodyPr/>
        <a:lstStyle/>
        <a:p>
          <a:r>
            <a:rPr lang="en-US" dirty="0">
              <a:solidFill>
                <a:srgbClr val="002060"/>
              </a:solidFill>
              <a:latin typeface="Verdana" panose="020B0604030504040204" pitchFamily="34" charset="0"/>
              <a:ea typeface="Verdana" panose="020B0604030504040204" pitchFamily="34" charset="0"/>
            </a:rPr>
            <a:t>Design Team 4</a:t>
          </a:r>
        </a:p>
      </dgm:t>
    </dgm:pt>
    <dgm:pt modelId="{6217D1CC-BE84-4C0A-A50A-74DCBC5B20DA}" type="parTrans" cxnId="{A3C13632-A71B-4D90-9AD3-3C590F11096C}">
      <dgm:prSet/>
      <dgm:spPr/>
      <dgm:t>
        <a:bodyPr/>
        <a:lstStyle/>
        <a:p>
          <a:endParaRPr lang="en-US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9C8304C6-1D5B-48D8-A498-EA021D9760D7}" type="sibTrans" cxnId="{A3C13632-A71B-4D90-9AD3-3C590F11096C}">
      <dgm:prSet/>
      <dgm:spPr/>
      <dgm:t>
        <a:bodyPr/>
        <a:lstStyle/>
        <a:p>
          <a:endParaRPr lang="en-US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2AE59D10-ED75-4B27-BEC1-F0B01673DC5C}" type="pres">
      <dgm:prSet presAssocID="{6250247A-9B95-4917-A6B3-057643276864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0CC6360F-6F0F-4A3E-AC45-5BE58C10E39A}" type="pres">
      <dgm:prSet presAssocID="{99EB06AA-6583-41C7-9D35-E3D995B35C73}" presName="hierRoot1" presStyleCnt="0"/>
      <dgm:spPr/>
    </dgm:pt>
    <dgm:pt modelId="{1F1DB9B6-A49A-4605-8028-B683FC0DE606}" type="pres">
      <dgm:prSet presAssocID="{99EB06AA-6583-41C7-9D35-E3D995B35C73}" presName="composite" presStyleCnt="0"/>
      <dgm:spPr/>
    </dgm:pt>
    <dgm:pt modelId="{AECABF95-FA5C-4A1E-A125-6AEA5BEFA330}" type="pres">
      <dgm:prSet presAssocID="{99EB06AA-6583-41C7-9D35-E3D995B35C73}" presName="background" presStyleLbl="node0" presStyleIdx="0" presStyleCnt="1"/>
      <dgm:spPr>
        <a:solidFill>
          <a:srgbClr val="D5F4FF"/>
        </a:solidFill>
      </dgm:spPr>
    </dgm:pt>
    <dgm:pt modelId="{97751300-E3ED-4C3E-85FF-F5BB24A30A55}" type="pres">
      <dgm:prSet presAssocID="{99EB06AA-6583-41C7-9D35-E3D995B35C73}" presName="text" presStyleLbl="fgAcc0" presStyleIdx="0" presStyleCnt="1">
        <dgm:presLayoutVars>
          <dgm:chPref val="3"/>
        </dgm:presLayoutVars>
      </dgm:prSet>
      <dgm:spPr/>
    </dgm:pt>
    <dgm:pt modelId="{E457107E-7078-4E10-BE41-6A41509EAFB6}" type="pres">
      <dgm:prSet presAssocID="{99EB06AA-6583-41C7-9D35-E3D995B35C73}" presName="hierChild2" presStyleCnt="0"/>
      <dgm:spPr/>
    </dgm:pt>
    <dgm:pt modelId="{B52DE55E-FF6E-4DD7-943F-9A334BB4A00C}" type="pres">
      <dgm:prSet presAssocID="{02ED0BD2-3188-4698-B9AD-E8200F6DC0E4}" presName="Name10" presStyleLbl="parChTrans1D2" presStyleIdx="0" presStyleCnt="4"/>
      <dgm:spPr/>
    </dgm:pt>
    <dgm:pt modelId="{FFA9E889-91E7-4F02-BAA3-D0B67E2AE74C}" type="pres">
      <dgm:prSet presAssocID="{76B5C5E7-1915-4509-BA2C-4C0F245AFAEE}" presName="hierRoot2" presStyleCnt="0"/>
      <dgm:spPr/>
    </dgm:pt>
    <dgm:pt modelId="{1FB566CE-0359-4EAE-B53C-83D44289FF25}" type="pres">
      <dgm:prSet presAssocID="{76B5C5E7-1915-4509-BA2C-4C0F245AFAEE}" presName="composite2" presStyleCnt="0"/>
      <dgm:spPr/>
    </dgm:pt>
    <dgm:pt modelId="{B2272F23-3F9D-49BE-A15C-8313ADE38E3D}" type="pres">
      <dgm:prSet presAssocID="{76B5C5E7-1915-4509-BA2C-4C0F245AFAEE}" presName="background2" presStyleLbl="node2" presStyleIdx="0" presStyleCnt="4"/>
      <dgm:spPr>
        <a:solidFill>
          <a:srgbClr val="D5F4FF"/>
        </a:solidFill>
      </dgm:spPr>
    </dgm:pt>
    <dgm:pt modelId="{236910C7-B778-4BAC-B83B-64CB2C591158}" type="pres">
      <dgm:prSet presAssocID="{76B5C5E7-1915-4509-BA2C-4C0F245AFAEE}" presName="text2" presStyleLbl="fgAcc2" presStyleIdx="0" presStyleCnt="4">
        <dgm:presLayoutVars>
          <dgm:chPref val="3"/>
        </dgm:presLayoutVars>
      </dgm:prSet>
      <dgm:spPr/>
    </dgm:pt>
    <dgm:pt modelId="{9E4FE501-C96F-41C1-9868-BFB1E6A604ED}" type="pres">
      <dgm:prSet presAssocID="{76B5C5E7-1915-4509-BA2C-4C0F245AFAEE}" presName="hierChild3" presStyleCnt="0"/>
      <dgm:spPr/>
    </dgm:pt>
    <dgm:pt modelId="{8567679C-D3D8-4963-9924-BD2298E3ED60}" type="pres">
      <dgm:prSet presAssocID="{5BE92B62-3C0A-47AB-8DAA-CA977FCC4EED}" presName="Name10" presStyleLbl="parChTrans1D2" presStyleIdx="1" presStyleCnt="4"/>
      <dgm:spPr/>
    </dgm:pt>
    <dgm:pt modelId="{C7F5D011-B4CD-43AF-BE58-35A24A0EA201}" type="pres">
      <dgm:prSet presAssocID="{FA6277CA-F5F3-45F3-95FB-0F37460DBA02}" presName="hierRoot2" presStyleCnt="0"/>
      <dgm:spPr/>
    </dgm:pt>
    <dgm:pt modelId="{FC4AE2A6-5791-44A9-8925-D57459306F04}" type="pres">
      <dgm:prSet presAssocID="{FA6277CA-F5F3-45F3-95FB-0F37460DBA02}" presName="composite2" presStyleCnt="0"/>
      <dgm:spPr/>
    </dgm:pt>
    <dgm:pt modelId="{E9F1B1CE-4204-4A8C-967F-E6BC0A01F930}" type="pres">
      <dgm:prSet presAssocID="{FA6277CA-F5F3-45F3-95FB-0F37460DBA02}" presName="background2" presStyleLbl="node2" presStyleIdx="1" presStyleCnt="4"/>
      <dgm:spPr>
        <a:solidFill>
          <a:srgbClr val="D5F4FF"/>
        </a:solidFill>
      </dgm:spPr>
    </dgm:pt>
    <dgm:pt modelId="{B60F7A54-D332-4760-80BF-D3EA417485DE}" type="pres">
      <dgm:prSet presAssocID="{FA6277CA-F5F3-45F3-95FB-0F37460DBA02}" presName="text2" presStyleLbl="fgAcc2" presStyleIdx="1" presStyleCnt="4">
        <dgm:presLayoutVars>
          <dgm:chPref val="3"/>
        </dgm:presLayoutVars>
      </dgm:prSet>
      <dgm:spPr/>
    </dgm:pt>
    <dgm:pt modelId="{93512F03-3ED6-4334-9BB8-09D08D9F1D8B}" type="pres">
      <dgm:prSet presAssocID="{FA6277CA-F5F3-45F3-95FB-0F37460DBA02}" presName="hierChild3" presStyleCnt="0"/>
      <dgm:spPr/>
    </dgm:pt>
    <dgm:pt modelId="{87D235D0-4880-4A89-BDB3-F0FB8586E29B}" type="pres">
      <dgm:prSet presAssocID="{6CEC7FF1-18EF-4682-9C3C-1F9DF77FEB17}" presName="Name10" presStyleLbl="parChTrans1D2" presStyleIdx="2" presStyleCnt="4"/>
      <dgm:spPr/>
    </dgm:pt>
    <dgm:pt modelId="{C5D0EA81-1D61-468D-B759-93794F4C3254}" type="pres">
      <dgm:prSet presAssocID="{139AD1FF-0C41-4974-A785-E286A2712B19}" presName="hierRoot2" presStyleCnt="0"/>
      <dgm:spPr/>
    </dgm:pt>
    <dgm:pt modelId="{4AF3FBC9-15CF-4268-AFFE-EEE2B2DF3641}" type="pres">
      <dgm:prSet presAssocID="{139AD1FF-0C41-4974-A785-E286A2712B19}" presName="composite2" presStyleCnt="0"/>
      <dgm:spPr/>
    </dgm:pt>
    <dgm:pt modelId="{C3A80E7D-77D2-4264-AFD5-AB86B3867C55}" type="pres">
      <dgm:prSet presAssocID="{139AD1FF-0C41-4974-A785-E286A2712B19}" presName="background2" presStyleLbl="node2" presStyleIdx="2" presStyleCnt="4"/>
      <dgm:spPr>
        <a:solidFill>
          <a:srgbClr val="D5F4FF"/>
        </a:solidFill>
      </dgm:spPr>
    </dgm:pt>
    <dgm:pt modelId="{4ABC18FC-C98A-43D9-8F9C-975CB125D8EB}" type="pres">
      <dgm:prSet presAssocID="{139AD1FF-0C41-4974-A785-E286A2712B19}" presName="text2" presStyleLbl="fgAcc2" presStyleIdx="2" presStyleCnt="4">
        <dgm:presLayoutVars>
          <dgm:chPref val="3"/>
        </dgm:presLayoutVars>
      </dgm:prSet>
      <dgm:spPr/>
    </dgm:pt>
    <dgm:pt modelId="{253CA4C4-B714-4702-8503-26FC9387314B}" type="pres">
      <dgm:prSet presAssocID="{139AD1FF-0C41-4974-A785-E286A2712B19}" presName="hierChild3" presStyleCnt="0"/>
      <dgm:spPr/>
    </dgm:pt>
    <dgm:pt modelId="{D8162ADB-EF7E-4CBF-8A8F-AD80137F11C8}" type="pres">
      <dgm:prSet presAssocID="{6217D1CC-BE84-4C0A-A50A-74DCBC5B20DA}" presName="Name10" presStyleLbl="parChTrans1D2" presStyleIdx="3" presStyleCnt="4"/>
      <dgm:spPr/>
    </dgm:pt>
    <dgm:pt modelId="{C6F8B91E-F07C-40ED-86F6-A91172E206B1}" type="pres">
      <dgm:prSet presAssocID="{62CE93D3-C0FA-4B5A-9DAE-FBC3FBAE549D}" presName="hierRoot2" presStyleCnt="0"/>
      <dgm:spPr/>
    </dgm:pt>
    <dgm:pt modelId="{8692AB3D-3B51-4B67-A01F-CD04EAB43B55}" type="pres">
      <dgm:prSet presAssocID="{62CE93D3-C0FA-4B5A-9DAE-FBC3FBAE549D}" presName="composite2" presStyleCnt="0"/>
      <dgm:spPr/>
    </dgm:pt>
    <dgm:pt modelId="{AA8DD5B0-03E0-499B-8157-89B3B1A87C79}" type="pres">
      <dgm:prSet presAssocID="{62CE93D3-C0FA-4B5A-9DAE-FBC3FBAE549D}" presName="background2" presStyleLbl="node2" presStyleIdx="3" presStyleCnt="4"/>
      <dgm:spPr>
        <a:solidFill>
          <a:srgbClr val="D5F4FF"/>
        </a:solidFill>
      </dgm:spPr>
    </dgm:pt>
    <dgm:pt modelId="{F7721331-7E94-406A-B88A-A13183BB1C2D}" type="pres">
      <dgm:prSet presAssocID="{62CE93D3-C0FA-4B5A-9DAE-FBC3FBAE549D}" presName="text2" presStyleLbl="fgAcc2" presStyleIdx="3" presStyleCnt="4">
        <dgm:presLayoutVars>
          <dgm:chPref val="3"/>
        </dgm:presLayoutVars>
      </dgm:prSet>
      <dgm:spPr/>
    </dgm:pt>
    <dgm:pt modelId="{49670344-97D1-4A60-97E5-E063ECE14CBB}" type="pres">
      <dgm:prSet presAssocID="{62CE93D3-C0FA-4B5A-9DAE-FBC3FBAE549D}" presName="hierChild3" presStyleCnt="0"/>
      <dgm:spPr/>
    </dgm:pt>
  </dgm:ptLst>
  <dgm:cxnLst>
    <dgm:cxn modelId="{8D7B1711-173E-45B4-88E6-688377CBF992}" type="presOf" srcId="{6CEC7FF1-18EF-4682-9C3C-1F9DF77FEB17}" destId="{87D235D0-4880-4A89-BDB3-F0FB8586E29B}" srcOrd="0" destOrd="0" presId="urn:microsoft.com/office/officeart/2005/8/layout/hierarchy1"/>
    <dgm:cxn modelId="{D8B54211-0340-4F44-8599-868F4CF9268E}" srcId="{99EB06AA-6583-41C7-9D35-E3D995B35C73}" destId="{FA6277CA-F5F3-45F3-95FB-0F37460DBA02}" srcOrd="1" destOrd="0" parTransId="{5BE92B62-3C0A-47AB-8DAA-CA977FCC4EED}" sibTransId="{A1116662-E885-4ACD-9B09-84460253FE44}"/>
    <dgm:cxn modelId="{A3C13632-A71B-4D90-9AD3-3C590F11096C}" srcId="{99EB06AA-6583-41C7-9D35-E3D995B35C73}" destId="{62CE93D3-C0FA-4B5A-9DAE-FBC3FBAE549D}" srcOrd="3" destOrd="0" parTransId="{6217D1CC-BE84-4C0A-A50A-74DCBC5B20DA}" sibTransId="{9C8304C6-1D5B-48D8-A498-EA021D9760D7}"/>
    <dgm:cxn modelId="{3B2C9236-0780-480B-ADBA-75473772099F}" type="presOf" srcId="{02ED0BD2-3188-4698-B9AD-E8200F6DC0E4}" destId="{B52DE55E-FF6E-4DD7-943F-9A334BB4A00C}" srcOrd="0" destOrd="0" presId="urn:microsoft.com/office/officeart/2005/8/layout/hierarchy1"/>
    <dgm:cxn modelId="{3067AD39-F7B8-41E9-8834-A1CECCAB24C0}" type="presOf" srcId="{76B5C5E7-1915-4509-BA2C-4C0F245AFAEE}" destId="{236910C7-B778-4BAC-B83B-64CB2C591158}" srcOrd="0" destOrd="0" presId="urn:microsoft.com/office/officeart/2005/8/layout/hierarchy1"/>
    <dgm:cxn modelId="{894F7C65-9924-4BDE-8326-C384BAA115DD}" type="presOf" srcId="{6217D1CC-BE84-4C0A-A50A-74DCBC5B20DA}" destId="{D8162ADB-EF7E-4CBF-8A8F-AD80137F11C8}" srcOrd="0" destOrd="0" presId="urn:microsoft.com/office/officeart/2005/8/layout/hierarchy1"/>
    <dgm:cxn modelId="{F27ACA54-577D-40BF-B823-DE4886B82083}" type="presOf" srcId="{FA6277CA-F5F3-45F3-95FB-0F37460DBA02}" destId="{B60F7A54-D332-4760-80BF-D3EA417485DE}" srcOrd="0" destOrd="0" presId="urn:microsoft.com/office/officeart/2005/8/layout/hierarchy1"/>
    <dgm:cxn modelId="{DB072B8B-2E55-44F8-98A5-089DA5CF2716}" type="presOf" srcId="{6250247A-9B95-4917-A6B3-057643276864}" destId="{2AE59D10-ED75-4B27-BEC1-F0B01673DC5C}" srcOrd="0" destOrd="0" presId="urn:microsoft.com/office/officeart/2005/8/layout/hierarchy1"/>
    <dgm:cxn modelId="{73F4798F-4DB5-46CD-85B1-D032963C7B29}" type="presOf" srcId="{62CE93D3-C0FA-4B5A-9DAE-FBC3FBAE549D}" destId="{F7721331-7E94-406A-B88A-A13183BB1C2D}" srcOrd="0" destOrd="0" presId="urn:microsoft.com/office/officeart/2005/8/layout/hierarchy1"/>
    <dgm:cxn modelId="{EF9F059D-2865-4811-8A9A-22CF78163E9B}" type="presOf" srcId="{139AD1FF-0C41-4974-A785-E286A2712B19}" destId="{4ABC18FC-C98A-43D9-8F9C-975CB125D8EB}" srcOrd="0" destOrd="0" presId="urn:microsoft.com/office/officeart/2005/8/layout/hierarchy1"/>
    <dgm:cxn modelId="{F149F5A2-727D-4555-B73B-F3818AD0DF82}" type="presOf" srcId="{99EB06AA-6583-41C7-9D35-E3D995B35C73}" destId="{97751300-E3ED-4C3E-85FF-F5BB24A30A55}" srcOrd="0" destOrd="0" presId="urn:microsoft.com/office/officeart/2005/8/layout/hierarchy1"/>
    <dgm:cxn modelId="{45F03EB6-CD4E-460B-A0A4-7C42ED9D4148}" srcId="{99EB06AA-6583-41C7-9D35-E3D995B35C73}" destId="{139AD1FF-0C41-4974-A785-E286A2712B19}" srcOrd="2" destOrd="0" parTransId="{6CEC7FF1-18EF-4682-9C3C-1F9DF77FEB17}" sibTransId="{017814FA-F23A-4011-95F5-B3D39D6B1F09}"/>
    <dgm:cxn modelId="{EB5065C1-2B98-4F07-92D6-243CA3B01250}" srcId="{99EB06AA-6583-41C7-9D35-E3D995B35C73}" destId="{76B5C5E7-1915-4509-BA2C-4C0F245AFAEE}" srcOrd="0" destOrd="0" parTransId="{02ED0BD2-3188-4698-B9AD-E8200F6DC0E4}" sibTransId="{7AF88F85-006E-42F3-90F1-7A595FDFC86A}"/>
    <dgm:cxn modelId="{B95848CE-16EF-4EC1-85DB-D6B7BF9D263B}" type="presOf" srcId="{5BE92B62-3C0A-47AB-8DAA-CA977FCC4EED}" destId="{8567679C-D3D8-4963-9924-BD2298E3ED60}" srcOrd="0" destOrd="0" presId="urn:microsoft.com/office/officeart/2005/8/layout/hierarchy1"/>
    <dgm:cxn modelId="{18BBEADF-D2D0-4631-8032-5777F3E86998}" srcId="{6250247A-9B95-4917-A6B3-057643276864}" destId="{99EB06AA-6583-41C7-9D35-E3D995B35C73}" srcOrd="0" destOrd="0" parTransId="{2242FD3B-EC67-4E15-BB68-E7994FF2DD5C}" sibTransId="{B6E5FD40-A0C8-45B7-AC0B-F9C8FEFA4EBF}"/>
    <dgm:cxn modelId="{1382FEE5-977F-4274-84DF-82DB90917F42}" type="presParOf" srcId="{2AE59D10-ED75-4B27-BEC1-F0B01673DC5C}" destId="{0CC6360F-6F0F-4A3E-AC45-5BE58C10E39A}" srcOrd="0" destOrd="0" presId="urn:microsoft.com/office/officeart/2005/8/layout/hierarchy1"/>
    <dgm:cxn modelId="{2D2CD580-E5D0-42EC-B614-49BAF769013D}" type="presParOf" srcId="{0CC6360F-6F0F-4A3E-AC45-5BE58C10E39A}" destId="{1F1DB9B6-A49A-4605-8028-B683FC0DE606}" srcOrd="0" destOrd="0" presId="urn:microsoft.com/office/officeart/2005/8/layout/hierarchy1"/>
    <dgm:cxn modelId="{AC70EC5D-E5EF-4543-8CF1-347B93DCF08C}" type="presParOf" srcId="{1F1DB9B6-A49A-4605-8028-B683FC0DE606}" destId="{AECABF95-FA5C-4A1E-A125-6AEA5BEFA330}" srcOrd="0" destOrd="0" presId="urn:microsoft.com/office/officeart/2005/8/layout/hierarchy1"/>
    <dgm:cxn modelId="{F86A5CC4-75A8-4F70-8F33-3E8CBCBB726D}" type="presParOf" srcId="{1F1DB9B6-A49A-4605-8028-B683FC0DE606}" destId="{97751300-E3ED-4C3E-85FF-F5BB24A30A55}" srcOrd="1" destOrd="0" presId="urn:microsoft.com/office/officeart/2005/8/layout/hierarchy1"/>
    <dgm:cxn modelId="{E2993453-D9A8-4701-B9E2-ADD411AB6F05}" type="presParOf" srcId="{0CC6360F-6F0F-4A3E-AC45-5BE58C10E39A}" destId="{E457107E-7078-4E10-BE41-6A41509EAFB6}" srcOrd="1" destOrd="0" presId="urn:microsoft.com/office/officeart/2005/8/layout/hierarchy1"/>
    <dgm:cxn modelId="{BD17E62C-6FD5-476B-BC88-2BBFE5B3F8BA}" type="presParOf" srcId="{E457107E-7078-4E10-BE41-6A41509EAFB6}" destId="{B52DE55E-FF6E-4DD7-943F-9A334BB4A00C}" srcOrd="0" destOrd="0" presId="urn:microsoft.com/office/officeart/2005/8/layout/hierarchy1"/>
    <dgm:cxn modelId="{E25651F5-9570-4471-BB22-DB26521C508E}" type="presParOf" srcId="{E457107E-7078-4E10-BE41-6A41509EAFB6}" destId="{FFA9E889-91E7-4F02-BAA3-D0B67E2AE74C}" srcOrd="1" destOrd="0" presId="urn:microsoft.com/office/officeart/2005/8/layout/hierarchy1"/>
    <dgm:cxn modelId="{67DAD4A5-92A3-4864-91E1-20AB332A55D0}" type="presParOf" srcId="{FFA9E889-91E7-4F02-BAA3-D0B67E2AE74C}" destId="{1FB566CE-0359-4EAE-B53C-83D44289FF25}" srcOrd="0" destOrd="0" presId="urn:microsoft.com/office/officeart/2005/8/layout/hierarchy1"/>
    <dgm:cxn modelId="{E7D4D633-F961-4AAA-92C3-2C08F344FF43}" type="presParOf" srcId="{1FB566CE-0359-4EAE-B53C-83D44289FF25}" destId="{B2272F23-3F9D-49BE-A15C-8313ADE38E3D}" srcOrd="0" destOrd="0" presId="urn:microsoft.com/office/officeart/2005/8/layout/hierarchy1"/>
    <dgm:cxn modelId="{706E4E81-AED4-4E72-8CC1-1D0417846214}" type="presParOf" srcId="{1FB566CE-0359-4EAE-B53C-83D44289FF25}" destId="{236910C7-B778-4BAC-B83B-64CB2C591158}" srcOrd="1" destOrd="0" presId="urn:microsoft.com/office/officeart/2005/8/layout/hierarchy1"/>
    <dgm:cxn modelId="{BA150320-153A-46DA-9563-7A91009F3DEE}" type="presParOf" srcId="{FFA9E889-91E7-4F02-BAA3-D0B67E2AE74C}" destId="{9E4FE501-C96F-41C1-9868-BFB1E6A604ED}" srcOrd="1" destOrd="0" presId="urn:microsoft.com/office/officeart/2005/8/layout/hierarchy1"/>
    <dgm:cxn modelId="{8EBFAF2A-1BA7-41D5-B50B-10F506D9B703}" type="presParOf" srcId="{E457107E-7078-4E10-BE41-6A41509EAFB6}" destId="{8567679C-D3D8-4963-9924-BD2298E3ED60}" srcOrd="2" destOrd="0" presId="urn:microsoft.com/office/officeart/2005/8/layout/hierarchy1"/>
    <dgm:cxn modelId="{5BA241AB-49D6-4977-999D-CDB602F41A72}" type="presParOf" srcId="{E457107E-7078-4E10-BE41-6A41509EAFB6}" destId="{C7F5D011-B4CD-43AF-BE58-35A24A0EA201}" srcOrd="3" destOrd="0" presId="urn:microsoft.com/office/officeart/2005/8/layout/hierarchy1"/>
    <dgm:cxn modelId="{AEADF087-1C59-407E-89EA-1DE46705047A}" type="presParOf" srcId="{C7F5D011-B4CD-43AF-BE58-35A24A0EA201}" destId="{FC4AE2A6-5791-44A9-8925-D57459306F04}" srcOrd="0" destOrd="0" presId="urn:microsoft.com/office/officeart/2005/8/layout/hierarchy1"/>
    <dgm:cxn modelId="{F74702FE-807D-4C37-9DF2-5091DAA684AC}" type="presParOf" srcId="{FC4AE2A6-5791-44A9-8925-D57459306F04}" destId="{E9F1B1CE-4204-4A8C-967F-E6BC0A01F930}" srcOrd="0" destOrd="0" presId="urn:microsoft.com/office/officeart/2005/8/layout/hierarchy1"/>
    <dgm:cxn modelId="{99E2E7FC-1EBC-4133-A3D6-B157B0E39178}" type="presParOf" srcId="{FC4AE2A6-5791-44A9-8925-D57459306F04}" destId="{B60F7A54-D332-4760-80BF-D3EA417485DE}" srcOrd="1" destOrd="0" presId="urn:microsoft.com/office/officeart/2005/8/layout/hierarchy1"/>
    <dgm:cxn modelId="{9FE6184D-A79F-4744-98A7-2EFD40FEEC7F}" type="presParOf" srcId="{C7F5D011-B4CD-43AF-BE58-35A24A0EA201}" destId="{93512F03-3ED6-4334-9BB8-09D08D9F1D8B}" srcOrd="1" destOrd="0" presId="urn:microsoft.com/office/officeart/2005/8/layout/hierarchy1"/>
    <dgm:cxn modelId="{1B0E5858-8031-4A34-9A89-01F9C022FE97}" type="presParOf" srcId="{E457107E-7078-4E10-BE41-6A41509EAFB6}" destId="{87D235D0-4880-4A89-BDB3-F0FB8586E29B}" srcOrd="4" destOrd="0" presId="urn:microsoft.com/office/officeart/2005/8/layout/hierarchy1"/>
    <dgm:cxn modelId="{C7BBD742-F53A-4B2B-BB54-CFD2BAB0038C}" type="presParOf" srcId="{E457107E-7078-4E10-BE41-6A41509EAFB6}" destId="{C5D0EA81-1D61-468D-B759-93794F4C3254}" srcOrd="5" destOrd="0" presId="urn:microsoft.com/office/officeart/2005/8/layout/hierarchy1"/>
    <dgm:cxn modelId="{A442AE4C-E466-470A-8655-8D3D0BFD4CD3}" type="presParOf" srcId="{C5D0EA81-1D61-468D-B759-93794F4C3254}" destId="{4AF3FBC9-15CF-4268-AFFE-EEE2B2DF3641}" srcOrd="0" destOrd="0" presId="urn:microsoft.com/office/officeart/2005/8/layout/hierarchy1"/>
    <dgm:cxn modelId="{3890D4E8-C079-4186-8329-814320D29E41}" type="presParOf" srcId="{4AF3FBC9-15CF-4268-AFFE-EEE2B2DF3641}" destId="{C3A80E7D-77D2-4264-AFD5-AB86B3867C55}" srcOrd="0" destOrd="0" presId="urn:microsoft.com/office/officeart/2005/8/layout/hierarchy1"/>
    <dgm:cxn modelId="{097EFCC8-9400-44D6-99E7-AECADDE39786}" type="presParOf" srcId="{4AF3FBC9-15CF-4268-AFFE-EEE2B2DF3641}" destId="{4ABC18FC-C98A-43D9-8F9C-975CB125D8EB}" srcOrd="1" destOrd="0" presId="urn:microsoft.com/office/officeart/2005/8/layout/hierarchy1"/>
    <dgm:cxn modelId="{1D5CA112-1D3E-4202-B3CE-9E28FC333365}" type="presParOf" srcId="{C5D0EA81-1D61-468D-B759-93794F4C3254}" destId="{253CA4C4-B714-4702-8503-26FC9387314B}" srcOrd="1" destOrd="0" presId="urn:microsoft.com/office/officeart/2005/8/layout/hierarchy1"/>
    <dgm:cxn modelId="{CD96B2F3-98CA-4021-9404-5DA9F83E0CE5}" type="presParOf" srcId="{E457107E-7078-4E10-BE41-6A41509EAFB6}" destId="{D8162ADB-EF7E-4CBF-8A8F-AD80137F11C8}" srcOrd="6" destOrd="0" presId="urn:microsoft.com/office/officeart/2005/8/layout/hierarchy1"/>
    <dgm:cxn modelId="{92336A28-C55D-4B12-904F-3540AF1D006E}" type="presParOf" srcId="{E457107E-7078-4E10-BE41-6A41509EAFB6}" destId="{C6F8B91E-F07C-40ED-86F6-A91172E206B1}" srcOrd="7" destOrd="0" presId="urn:microsoft.com/office/officeart/2005/8/layout/hierarchy1"/>
    <dgm:cxn modelId="{FAF9F663-C1CF-480A-8749-C730AD6C9291}" type="presParOf" srcId="{C6F8B91E-F07C-40ED-86F6-A91172E206B1}" destId="{8692AB3D-3B51-4B67-A01F-CD04EAB43B55}" srcOrd="0" destOrd="0" presId="urn:microsoft.com/office/officeart/2005/8/layout/hierarchy1"/>
    <dgm:cxn modelId="{5016DA5D-F112-4E78-B914-8349D088B0C5}" type="presParOf" srcId="{8692AB3D-3B51-4B67-A01F-CD04EAB43B55}" destId="{AA8DD5B0-03E0-499B-8157-89B3B1A87C79}" srcOrd="0" destOrd="0" presId="urn:microsoft.com/office/officeart/2005/8/layout/hierarchy1"/>
    <dgm:cxn modelId="{EEF966B3-551D-482F-84E8-F6CDB73FA32A}" type="presParOf" srcId="{8692AB3D-3B51-4B67-A01F-CD04EAB43B55}" destId="{F7721331-7E94-406A-B88A-A13183BB1C2D}" srcOrd="1" destOrd="0" presId="urn:microsoft.com/office/officeart/2005/8/layout/hierarchy1"/>
    <dgm:cxn modelId="{E7D53FE8-600A-4916-8173-9C8761D3B5D6}" type="presParOf" srcId="{C6F8B91E-F07C-40ED-86F6-A91172E206B1}" destId="{49670344-97D1-4A60-97E5-E063ECE14CBB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250247A-9B95-4917-A6B3-057643276864}" type="doc">
      <dgm:prSet loTypeId="urn:microsoft.com/office/officeart/2005/8/layout/hierarchy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9EB06AA-6583-41C7-9D35-E3D995B35C73}">
      <dgm:prSet phldrT="[Text]"/>
      <dgm:spPr>
        <a:solidFill>
          <a:srgbClr val="002060">
            <a:alpha val="90000"/>
          </a:srgbClr>
        </a:solidFill>
      </dgm:spPr>
      <dgm:t>
        <a:bodyPr/>
        <a:lstStyle/>
        <a:p>
          <a:r>
            <a:rPr lang="en-US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rPr>
            <a:t>SPH Steering Committee</a:t>
          </a:r>
        </a:p>
      </dgm:t>
    </dgm:pt>
    <dgm:pt modelId="{2242FD3B-EC67-4E15-BB68-E7994FF2DD5C}" type="parTrans" cxnId="{18BBEADF-D2D0-4631-8032-5777F3E86998}">
      <dgm:prSet/>
      <dgm:spPr/>
      <dgm:t>
        <a:bodyPr/>
        <a:lstStyle/>
        <a:p>
          <a:endParaRPr lang="en-US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B6E5FD40-A0C8-45B7-AC0B-F9C8FEFA4EBF}" type="sibTrans" cxnId="{18BBEADF-D2D0-4631-8032-5777F3E86998}">
      <dgm:prSet/>
      <dgm:spPr/>
      <dgm:t>
        <a:bodyPr/>
        <a:lstStyle/>
        <a:p>
          <a:endParaRPr lang="en-US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76B5C5E7-1915-4509-BA2C-4C0F245AFAEE}">
      <dgm:prSet phldrT="[Text]"/>
      <dgm:spPr/>
      <dgm:t>
        <a:bodyPr/>
        <a:lstStyle/>
        <a:p>
          <a:r>
            <a:rPr lang="en-US" dirty="0">
              <a:solidFill>
                <a:srgbClr val="002060"/>
              </a:solidFill>
              <a:latin typeface="Verdana" panose="020B0604030504040204" pitchFamily="34" charset="0"/>
              <a:ea typeface="Verdana" panose="020B0604030504040204" pitchFamily="34" charset="0"/>
            </a:rPr>
            <a:t>Infrastructure </a:t>
          </a:r>
        </a:p>
      </dgm:t>
    </dgm:pt>
    <dgm:pt modelId="{02ED0BD2-3188-4698-B9AD-E8200F6DC0E4}" type="parTrans" cxnId="{EB5065C1-2B98-4F07-92D6-243CA3B01250}">
      <dgm:prSet/>
      <dgm:spPr/>
      <dgm:t>
        <a:bodyPr/>
        <a:lstStyle/>
        <a:p>
          <a:endParaRPr lang="en-US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7AF88F85-006E-42F3-90F1-7A595FDFC86A}" type="sibTrans" cxnId="{EB5065C1-2B98-4F07-92D6-243CA3B01250}">
      <dgm:prSet/>
      <dgm:spPr/>
      <dgm:t>
        <a:bodyPr/>
        <a:lstStyle/>
        <a:p>
          <a:endParaRPr lang="en-US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FA6277CA-F5F3-45F3-95FB-0F37460DBA02}">
      <dgm:prSet phldrT="[Text]"/>
      <dgm:spPr/>
      <dgm:t>
        <a:bodyPr/>
        <a:lstStyle/>
        <a:p>
          <a:r>
            <a:rPr lang="en-US" dirty="0">
              <a:solidFill>
                <a:srgbClr val="002060"/>
              </a:solidFill>
              <a:latin typeface="Verdana" panose="020B0604030504040204" pitchFamily="34" charset="0"/>
              <a:ea typeface="Verdana" panose="020B0604030504040204" pitchFamily="34" charset="0"/>
            </a:rPr>
            <a:t>Education</a:t>
          </a:r>
        </a:p>
      </dgm:t>
    </dgm:pt>
    <dgm:pt modelId="{5BE92B62-3C0A-47AB-8DAA-CA977FCC4EED}" type="parTrans" cxnId="{D8B54211-0340-4F44-8599-868F4CF9268E}">
      <dgm:prSet/>
      <dgm:spPr/>
      <dgm:t>
        <a:bodyPr/>
        <a:lstStyle/>
        <a:p>
          <a:endParaRPr lang="en-US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A1116662-E885-4ACD-9B09-84460253FE44}" type="sibTrans" cxnId="{D8B54211-0340-4F44-8599-868F4CF9268E}">
      <dgm:prSet/>
      <dgm:spPr/>
      <dgm:t>
        <a:bodyPr/>
        <a:lstStyle/>
        <a:p>
          <a:endParaRPr lang="en-US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139AD1FF-0C41-4974-A785-E286A2712B19}">
      <dgm:prSet phldrT="[Text]"/>
      <dgm:spPr/>
      <dgm:t>
        <a:bodyPr/>
        <a:lstStyle/>
        <a:p>
          <a:r>
            <a:rPr lang="en-US" dirty="0">
              <a:solidFill>
                <a:srgbClr val="002060"/>
              </a:solidFill>
              <a:latin typeface="Verdana" panose="020B0604030504040204" pitchFamily="34" charset="0"/>
              <a:ea typeface="Verdana" panose="020B0604030504040204" pitchFamily="34" charset="0"/>
            </a:rPr>
            <a:t>Injury Reporting</a:t>
          </a:r>
        </a:p>
      </dgm:t>
    </dgm:pt>
    <dgm:pt modelId="{6CEC7FF1-18EF-4682-9C3C-1F9DF77FEB17}" type="parTrans" cxnId="{45F03EB6-CD4E-460B-A0A4-7C42ED9D4148}">
      <dgm:prSet/>
      <dgm:spPr/>
      <dgm:t>
        <a:bodyPr/>
        <a:lstStyle/>
        <a:p>
          <a:endParaRPr lang="en-US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017814FA-F23A-4011-95F5-B3D39D6B1F09}" type="sibTrans" cxnId="{45F03EB6-CD4E-460B-A0A4-7C42ED9D4148}">
      <dgm:prSet/>
      <dgm:spPr/>
      <dgm:t>
        <a:bodyPr/>
        <a:lstStyle/>
        <a:p>
          <a:endParaRPr lang="en-US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62CE93D3-C0FA-4B5A-9DAE-FBC3FBAE549D}">
      <dgm:prSet phldrT="[Text]"/>
      <dgm:spPr/>
      <dgm:t>
        <a:bodyPr/>
        <a:lstStyle/>
        <a:p>
          <a:r>
            <a:rPr lang="en-US" dirty="0">
              <a:solidFill>
                <a:srgbClr val="002060"/>
              </a:solidFill>
              <a:latin typeface="Verdana" panose="020B0604030504040204" pitchFamily="34" charset="0"/>
              <a:ea typeface="Verdana" panose="020B0604030504040204" pitchFamily="34" charset="0"/>
            </a:rPr>
            <a:t>Mobility Assessment Workflow</a:t>
          </a:r>
        </a:p>
      </dgm:t>
    </dgm:pt>
    <dgm:pt modelId="{6217D1CC-BE84-4C0A-A50A-74DCBC5B20DA}" type="parTrans" cxnId="{A3C13632-A71B-4D90-9AD3-3C590F11096C}">
      <dgm:prSet/>
      <dgm:spPr/>
      <dgm:t>
        <a:bodyPr/>
        <a:lstStyle/>
        <a:p>
          <a:endParaRPr lang="en-US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9C8304C6-1D5B-48D8-A498-EA021D9760D7}" type="sibTrans" cxnId="{A3C13632-A71B-4D90-9AD3-3C590F11096C}">
      <dgm:prSet/>
      <dgm:spPr/>
      <dgm:t>
        <a:bodyPr/>
        <a:lstStyle/>
        <a:p>
          <a:endParaRPr lang="en-US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2AE59D10-ED75-4B27-BEC1-F0B01673DC5C}" type="pres">
      <dgm:prSet presAssocID="{6250247A-9B95-4917-A6B3-057643276864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0CC6360F-6F0F-4A3E-AC45-5BE58C10E39A}" type="pres">
      <dgm:prSet presAssocID="{99EB06AA-6583-41C7-9D35-E3D995B35C73}" presName="hierRoot1" presStyleCnt="0"/>
      <dgm:spPr/>
    </dgm:pt>
    <dgm:pt modelId="{1F1DB9B6-A49A-4605-8028-B683FC0DE606}" type="pres">
      <dgm:prSet presAssocID="{99EB06AA-6583-41C7-9D35-E3D995B35C73}" presName="composite" presStyleCnt="0"/>
      <dgm:spPr/>
    </dgm:pt>
    <dgm:pt modelId="{AECABF95-FA5C-4A1E-A125-6AEA5BEFA330}" type="pres">
      <dgm:prSet presAssocID="{99EB06AA-6583-41C7-9D35-E3D995B35C73}" presName="background" presStyleLbl="node0" presStyleIdx="0" presStyleCnt="1"/>
      <dgm:spPr>
        <a:solidFill>
          <a:srgbClr val="D5F4FF"/>
        </a:solidFill>
      </dgm:spPr>
    </dgm:pt>
    <dgm:pt modelId="{97751300-E3ED-4C3E-85FF-F5BB24A30A55}" type="pres">
      <dgm:prSet presAssocID="{99EB06AA-6583-41C7-9D35-E3D995B35C73}" presName="text" presStyleLbl="fgAcc0" presStyleIdx="0" presStyleCnt="1">
        <dgm:presLayoutVars>
          <dgm:chPref val="3"/>
        </dgm:presLayoutVars>
      </dgm:prSet>
      <dgm:spPr/>
    </dgm:pt>
    <dgm:pt modelId="{E457107E-7078-4E10-BE41-6A41509EAFB6}" type="pres">
      <dgm:prSet presAssocID="{99EB06AA-6583-41C7-9D35-E3D995B35C73}" presName="hierChild2" presStyleCnt="0"/>
      <dgm:spPr/>
    </dgm:pt>
    <dgm:pt modelId="{B52DE55E-FF6E-4DD7-943F-9A334BB4A00C}" type="pres">
      <dgm:prSet presAssocID="{02ED0BD2-3188-4698-B9AD-E8200F6DC0E4}" presName="Name10" presStyleLbl="parChTrans1D2" presStyleIdx="0" presStyleCnt="4"/>
      <dgm:spPr/>
    </dgm:pt>
    <dgm:pt modelId="{FFA9E889-91E7-4F02-BAA3-D0B67E2AE74C}" type="pres">
      <dgm:prSet presAssocID="{76B5C5E7-1915-4509-BA2C-4C0F245AFAEE}" presName="hierRoot2" presStyleCnt="0"/>
      <dgm:spPr/>
    </dgm:pt>
    <dgm:pt modelId="{1FB566CE-0359-4EAE-B53C-83D44289FF25}" type="pres">
      <dgm:prSet presAssocID="{76B5C5E7-1915-4509-BA2C-4C0F245AFAEE}" presName="composite2" presStyleCnt="0"/>
      <dgm:spPr/>
    </dgm:pt>
    <dgm:pt modelId="{B2272F23-3F9D-49BE-A15C-8313ADE38E3D}" type="pres">
      <dgm:prSet presAssocID="{76B5C5E7-1915-4509-BA2C-4C0F245AFAEE}" presName="background2" presStyleLbl="node2" presStyleIdx="0" presStyleCnt="4"/>
      <dgm:spPr>
        <a:solidFill>
          <a:srgbClr val="D5F4FF"/>
        </a:solidFill>
      </dgm:spPr>
    </dgm:pt>
    <dgm:pt modelId="{236910C7-B778-4BAC-B83B-64CB2C591158}" type="pres">
      <dgm:prSet presAssocID="{76B5C5E7-1915-4509-BA2C-4C0F245AFAEE}" presName="text2" presStyleLbl="fgAcc2" presStyleIdx="0" presStyleCnt="4">
        <dgm:presLayoutVars>
          <dgm:chPref val="3"/>
        </dgm:presLayoutVars>
      </dgm:prSet>
      <dgm:spPr/>
    </dgm:pt>
    <dgm:pt modelId="{9E4FE501-C96F-41C1-9868-BFB1E6A604ED}" type="pres">
      <dgm:prSet presAssocID="{76B5C5E7-1915-4509-BA2C-4C0F245AFAEE}" presName="hierChild3" presStyleCnt="0"/>
      <dgm:spPr/>
    </dgm:pt>
    <dgm:pt modelId="{8567679C-D3D8-4963-9924-BD2298E3ED60}" type="pres">
      <dgm:prSet presAssocID="{5BE92B62-3C0A-47AB-8DAA-CA977FCC4EED}" presName="Name10" presStyleLbl="parChTrans1D2" presStyleIdx="1" presStyleCnt="4"/>
      <dgm:spPr/>
    </dgm:pt>
    <dgm:pt modelId="{C7F5D011-B4CD-43AF-BE58-35A24A0EA201}" type="pres">
      <dgm:prSet presAssocID="{FA6277CA-F5F3-45F3-95FB-0F37460DBA02}" presName="hierRoot2" presStyleCnt="0"/>
      <dgm:spPr/>
    </dgm:pt>
    <dgm:pt modelId="{FC4AE2A6-5791-44A9-8925-D57459306F04}" type="pres">
      <dgm:prSet presAssocID="{FA6277CA-F5F3-45F3-95FB-0F37460DBA02}" presName="composite2" presStyleCnt="0"/>
      <dgm:spPr/>
    </dgm:pt>
    <dgm:pt modelId="{E9F1B1CE-4204-4A8C-967F-E6BC0A01F930}" type="pres">
      <dgm:prSet presAssocID="{FA6277CA-F5F3-45F3-95FB-0F37460DBA02}" presName="background2" presStyleLbl="node2" presStyleIdx="1" presStyleCnt="4"/>
      <dgm:spPr>
        <a:solidFill>
          <a:srgbClr val="D5F4FF"/>
        </a:solidFill>
      </dgm:spPr>
    </dgm:pt>
    <dgm:pt modelId="{B60F7A54-D332-4760-80BF-D3EA417485DE}" type="pres">
      <dgm:prSet presAssocID="{FA6277CA-F5F3-45F3-95FB-0F37460DBA02}" presName="text2" presStyleLbl="fgAcc2" presStyleIdx="1" presStyleCnt="4">
        <dgm:presLayoutVars>
          <dgm:chPref val="3"/>
        </dgm:presLayoutVars>
      </dgm:prSet>
      <dgm:spPr/>
    </dgm:pt>
    <dgm:pt modelId="{93512F03-3ED6-4334-9BB8-09D08D9F1D8B}" type="pres">
      <dgm:prSet presAssocID="{FA6277CA-F5F3-45F3-95FB-0F37460DBA02}" presName="hierChild3" presStyleCnt="0"/>
      <dgm:spPr/>
    </dgm:pt>
    <dgm:pt modelId="{87D235D0-4880-4A89-BDB3-F0FB8586E29B}" type="pres">
      <dgm:prSet presAssocID="{6CEC7FF1-18EF-4682-9C3C-1F9DF77FEB17}" presName="Name10" presStyleLbl="parChTrans1D2" presStyleIdx="2" presStyleCnt="4"/>
      <dgm:spPr/>
    </dgm:pt>
    <dgm:pt modelId="{C5D0EA81-1D61-468D-B759-93794F4C3254}" type="pres">
      <dgm:prSet presAssocID="{139AD1FF-0C41-4974-A785-E286A2712B19}" presName="hierRoot2" presStyleCnt="0"/>
      <dgm:spPr/>
    </dgm:pt>
    <dgm:pt modelId="{4AF3FBC9-15CF-4268-AFFE-EEE2B2DF3641}" type="pres">
      <dgm:prSet presAssocID="{139AD1FF-0C41-4974-A785-E286A2712B19}" presName="composite2" presStyleCnt="0"/>
      <dgm:spPr/>
    </dgm:pt>
    <dgm:pt modelId="{C3A80E7D-77D2-4264-AFD5-AB86B3867C55}" type="pres">
      <dgm:prSet presAssocID="{139AD1FF-0C41-4974-A785-E286A2712B19}" presName="background2" presStyleLbl="node2" presStyleIdx="2" presStyleCnt="4"/>
      <dgm:spPr>
        <a:solidFill>
          <a:srgbClr val="D5F4FF"/>
        </a:solidFill>
      </dgm:spPr>
    </dgm:pt>
    <dgm:pt modelId="{4ABC18FC-C98A-43D9-8F9C-975CB125D8EB}" type="pres">
      <dgm:prSet presAssocID="{139AD1FF-0C41-4974-A785-E286A2712B19}" presName="text2" presStyleLbl="fgAcc2" presStyleIdx="2" presStyleCnt="4">
        <dgm:presLayoutVars>
          <dgm:chPref val="3"/>
        </dgm:presLayoutVars>
      </dgm:prSet>
      <dgm:spPr/>
    </dgm:pt>
    <dgm:pt modelId="{253CA4C4-B714-4702-8503-26FC9387314B}" type="pres">
      <dgm:prSet presAssocID="{139AD1FF-0C41-4974-A785-E286A2712B19}" presName="hierChild3" presStyleCnt="0"/>
      <dgm:spPr/>
    </dgm:pt>
    <dgm:pt modelId="{D8162ADB-EF7E-4CBF-8A8F-AD80137F11C8}" type="pres">
      <dgm:prSet presAssocID="{6217D1CC-BE84-4C0A-A50A-74DCBC5B20DA}" presName="Name10" presStyleLbl="parChTrans1D2" presStyleIdx="3" presStyleCnt="4"/>
      <dgm:spPr/>
    </dgm:pt>
    <dgm:pt modelId="{C6F8B91E-F07C-40ED-86F6-A91172E206B1}" type="pres">
      <dgm:prSet presAssocID="{62CE93D3-C0FA-4B5A-9DAE-FBC3FBAE549D}" presName="hierRoot2" presStyleCnt="0"/>
      <dgm:spPr/>
    </dgm:pt>
    <dgm:pt modelId="{8692AB3D-3B51-4B67-A01F-CD04EAB43B55}" type="pres">
      <dgm:prSet presAssocID="{62CE93D3-C0FA-4B5A-9DAE-FBC3FBAE549D}" presName="composite2" presStyleCnt="0"/>
      <dgm:spPr/>
    </dgm:pt>
    <dgm:pt modelId="{AA8DD5B0-03E0-499B-8157-89B3B1A87C79}" type="pres">
      <dgm:prSet presAssocID="{62CE93D3-C0FA-4B5A-9DAE-FBC3FBAE549D}" presName="background2" presStyleLbl="node2" presStyleIdx="3" presStyleCnt="4"/>
      <dgm:spPr>
        <a:solidFill>
          <a:srgbClr val="D5F4FF"/>
        </a:solidFill>
      </dgm:spPr>
    </dgm:pt>
    <dgm:pt modelId="{F7721331-7E94-406A-B88A-A13183BB1C2D}" type="pres">
      <dgm:prSet presAssocID="{62CE93D3-C0FA-4B5A-9DAE-FBC3FBAE549D}" presName="text2" presStyleLbl="fgAcc2" presStyleIdx="3" presStyleCnt="4">
        <dgm:presLayoutVars>
          <dgm:chPref val="3"/>
        </dgm:presLayoutVars>
      </dgm:prSet>
      <dgm:spPr/>
    </dgm:pt>
    <dgm:pt modelId="{49670344-97D1-4A60-97E5-E063ECE14CBB}" type="pres">
      <dgm:prSet presAssocID="{62CE93D3-C0FA-4B5A-9DAE-FBC3FBAE549D}" presName="hierChild3" presStyleCnt="0"/>
      <dgm:spPr/>
    </dgm:pt>
  </dgm:ptLst>
  <dgm:cxnLst>
    <dgm:cxn modelId="{8D7B1711-173E-45B4-88E6-688377CBF992}" type="presOf" srcId="{6CEC7FF1-18EF-4682-9C3C-1F9DF77FEB17}" destId="{87D235D0-4880-4A89-BDB3-F0FB8586E29B}" srcOrd="0" destOrd="0" presId="urn:microsoft.com/office/officeart/2005/8/layout/hierarchy1"/>
    <dgm:cxn modelId="{D8B54211-0340-4F44-8599-868F4CF9268E}" srcId="{99EB06AA-6583-41C7-9D35-E3D995B35C73}" destId="{FA6277CA-F5F3-45F3-95FB-0F37460DBA02}" srcOrd="1" destOrd="0" parTransId="{5BE92B62-3C0A-47AB-8DAA-CA977FCC4EED}" sibTransId="{A1116662-E885-4ACD-9B09-84460253FE44}"/>
    <dgm:cxn modelId="{A3C13632-A71B-4D90-9AD3-3C590F11096C}" srcId="{99EB06AA-6583-41C7-9D35-E3D995B35C73}" destId="{62CE93D3-C0FA-4B5A-9DAE-FBC3FBAE549D}" srcOrd="3" destOrd="0" parTransId="{6217D1CC-BE84-4C0A-A50A-74DCBC5B20DA}" sibTransId="{9C8304C6-1D5B-48D8-A498-EA021D9760D7}"/>
    <dgm:cxn modelId="{3B2C9236-0780-480B-ADBA-75473772099F}" type="presOf" srcId="{02ED0BD2-3188-4698-B9AD-E8200F6DC0E4}" destId="{B52DE55E-FF6E-4DD7-943F-9A334BB4A00C}" srcOrd="0" destOrd="0" presId="urn:microsoft.com/office/officeart/2005/8/layout/hierarchy1"/>
    <dgm:cxn modelId="{3067AD39-F7B8-41E9-8834-A1CECCAB24C0}" type="presOf" srcId="{76B5C5E7-1915-4509-BA2C-4C0F245AFAEE}" destId="{236910C7-B778-4BAC-B83B-64CB2C591158}" srcOrd="0" destOrd="0" presId="urn:microsoft.com/office/officeart/2005/8/layout/hierarchy1"/>
    <dgm:cxn modelId="{894F7C65-9924-4BDE-8326-C384BAA115DD}" type="presOf" srcId="{6217D1CC-BE84-4C0A-A50A-74DCBC5B20DA}" destId="{D8162ADB-EF7E-4CBF-8A8F-AD80137F11C8}" srcOrd="0" destOrd="0" presId="urn:microsoft.com/office/officeart/2005/8/layout/hierarchy1"/>
    <dgm:cxn modelId="{F27ACA54-577D-40BF-B823-DE4886B82083}" type="presOf" srcId="{FA6277CA-F5F3-45F3-95FB-0F37460DBA02}" destId="{B60F7A54-D332-4760-80BF-D3EA417485DE}" srcOrd="0" destOrd="0" presId="urn:microsoft.com/office/officeart/2005/8/layout/hierarchy1"/>
    <dgm:cxn modelId="{DB072B8B-2E55-44F8-98A5-089DA5CF2716}" type="presOf" srcId="{6250247A-9B95-4917-A6B3-057643276864}" destId="{2AE59D10-ED75-4B27-BEC1-F0B01673DC5C}" srcOrd="0" destOrd="0" presId="urn:microsoft.com/office/officeart/2005/8/layout/hierarchy1"/>
    <dgm:cxn modelId="{73F4798F-4DB5-46CD-85B1-D032963C7B29}" type="presOf" srcId="{62CE93D3-C0FA-4B5A-9DAE-FBC3FBAE549D}" destId="{F7721331-7E94-406A-B88A-A13183BB1C2D}" srcOrd="0" destOrd="0" presId="urn:microsoft.com/office/officeart/2005/8/layout/hierarchy1"/>
    <dgm:cxn modelId="{EF9F059D-2865-4811-8A9A-22CF78163E9B}" type="presOf" srcId="{139AD1FF-0C41-4974-A785-E286A2712B19}" destId="{4ABC18FC-C98A-43D9-8F9C-975CB125D8EB}" srcOrd="0" destOrd="0" presId="urn:microsoft.com/office/officeart/2005/8/layout/hierarchy1"/>
    <dgm:cxn modelId="{F149F5A2-727D-4555-B73B-F3818AD0DF82}" type="presOf" srcId="{99EB06AA-6583-41C7-9D35-E3D995B35C73}" destId="{97751300-E3ED-4C3E-85FF-F5BB24A30A55}" srcOrd="0" destOrd="0" presId="urn:microsoft.com/office/officeart/2005/8/layout/hierarchy1"/>
    <dgm:cxn modelId="{45F03EB6-CD4E-460B-A0A4-7C42ED9D4148}" srcId="{99EB06AA-6583-41C7-9D35-E3D995B35C73}" destId="{139AD1FF-0C41-4974-A785-E286A2712B19}" srcOrd="2" destOrd="0" parTransId="{6CEC7FF1-18EF-4682-9C3C-1F9DF77FEB17}" sibTransId="{017814FA-F23A-4011-95F5-B3D39D6B1F09}"/>
    <dgm:cxn modelId="{EB5065C1-2B98-4F07-92D6-243CA3B01250}" srcId="{99EB06AA-6583-41C7-9D35-E3D995B35C73}" destId="{76B5C5E7-1915-4509-BA2C-4C0F245AFAEE}" srcOrd="0" destOrd="0" parTransId="{02ED0BD2-3188-4698-B9AD-E8200F6DC0E4}" sibTransId="{7AF88F85-006E-42F3-90F1-7A595FDFC86A}"/>
    <dgm:cxn modelId="{B95848CE-16EF-4EC1-85DB-D6B7BF9D263B}" type="presOf" srcId="{5BE92B62-3C0A-47AB-8DAA-CA977FCC4EED}" destId="{8567679C-D3D8-4963-9924-BD2298E3ED60}" srcOrd="0" destOrd="0" presId="urn:microsoft.com/office/officeart/2005/8/layout/hierarchy1"/>
    <dgm:cxn modelId="{18BBEADF-D2D0-4631-8032-5777F3E86998}" srcId="{6250247A-9B95-4917-A6B3-057643276864}" destId="{99EB06AA-6583-41C7-9D35-E3D995B35C73}" srcOrd="0" destOrd="0" parTransId="{2242FD3B-EC67-4E15-BB68-E7994FF2DD5C}" sibTransId="{B6E5FD40-A0C8-45B7-AC0B-F9C8FEFA4EBF}"/>
    <dgm:cxn modelId="{1382FEE5-977F-4274-84DF-82DB90917F42}" type="presParOf" srcId="{2AE59D10-ED75-4B27-BEC1-F0B01673DC5C}" destId="{0CC6360F-6F0F-4A3E-AC45-5BE58C10E39A}" srcOrd="0" destOrd="0" presId="urn:microsoft.com/office/officeart/2005/8/layout/hierarchy1"/>
    <dgm:cxn modelId="{2D2CD580-E5D0-42EC-B614-49BAF769013D}" type="presParOf" srcId="{0CC6360F-6F0F-4A3E-AC45-5BE58C10E39A}" destId="{1F1DB9B6-A49A-4605-8028-B683FC0DE606}" srcOrd="0" destOrd="0" presId="urn:microsoft.com/office/officeart/2005/8/layout/hierarchy1"/>
    <dgm:cxn modelId="{AC70EC5D-E5EF-4543-8CF1-347B93DCF08C}" type="presParOf" srcId="{1F1DB9B6-A49A-4605-8028-B683FC0DE606}" destId="{AECABF95-FA5C-4A1E-A125-6AEA5BEFA330}" srcOrd="0" destOrd="0" presId="urn:microsoft.com/office/officeart/2005/8/layout/hierarchy1"/>
    <dgm:cxn modelId="{F86A5CC4-75A8-4F70-8F33-3E8CBCBB726D}" type="presParOf" srcId="{1F1DB9B6-A49A-4605-8028-B683FC0DE606}" destId="{97751300-E3ED-4C3E-85FF-F5BB24A30A55}" srcOrd="1" destOrd="0" presId="urn:microsoft.com/office/officeart/2005/8/layout/hierarchy1"/>
    <dgm:cxn modelId="{E2993453-D9A8-4701-B9E2-ADD411AB6F05}" type="presParOf" srcId="{0CC6360F-6F0F-4A3E-AC45-5BE58C10E39A}" destId="{E457107E-7078-4E10-BE41-6A41509EAFB6}" srcOrd="1" destOrd="0" presId="urn:microsoft.com/office/officeart/2005/8/layout/hierarchy1"/>
    <dgm:cxn modelId="{BD17E62C-6FD5-476B-BC88-2BBFE5B3F8BA}" type="presParOf" srcId="{E457107E-7078-4E10-BE41-6A41509EAFB6}" destId="{B52DE55E-FF6E-4DD7-943F-9A334BB4A00C}" srcOrd="0" destOrd="0" presId="urn:microsoft.com/office/officeart/2005/8/layout/hierarchy1"/>
    <dgm:cxn modelId="{E25651F5-9570-4471-BB22-DB26521C508E}" type="presParOf" srcId="{E457107E-7078-4E10-BE41-6A41509EAFB6}" destId="{FFA9E889-91E7-4F02-BAA3-D0B67E2AE74C}" srcOrd="1" destOrd="0" presId="urn:microsoft.com/office/officeart/2005/8/layout/hierarchy1"/>
    <dgm:cxn modelId="{67DAD4A5-92A3-4864-91E1-20AB332A55D0}" type="presParOf" srcId="{FFA9E889-91E7-4F02-BAA3-D0B67E2AE74C}" destId="{1FB566CE-0359-4EAE-B53C-83D44289FF25}" srcOrd="0" destOrd="0" presId="urn:microsoft.com/office/officeart/2005/8/layout/hierarchy1"/>
    <dgm:cxn modelId="{E7D4D633-F961-4AAA-92C3-2C08F344FF43}" type="presParOf" srcId="{1FB566CE-0359-4EAE-B53C-83D44289FF25}" destId="{B2272F23-3F9D-49BE-A15C-8313ADE38E3D}" srcOrd="0" destOrd="0" presId="urn:microsoft.com/office/officeart/2005/8/layout/hierarchy1"/>
    <dgm:cxn modelId="{706E4E81-AED4-4E72-8CC1-1D0417846214}" type="presParOf" srcId="{1FB566CE-0359-4EAE-B53C-83D44289FF25}" destId="{236910C7-B778-4BAC-B83B-64CB2C591158}" srcOrd="1" destOrd="0" presId="urn:microsoft.com/office/officeart/2005/8/layout/hierarchy1"/>
    <dgm:cxn modelId="{BA150320-153A-46DA-9563-7A91009F3DEE}" type="presParOf" srcId="{FFA9E889-91E7-4F02-BAA3-D0B67E2AE74C}" destId="{9E4FE501-C96F-41C1-9868-BFB1E6A604ED}" srcOrd="1" destOrd="0" presId="urn:microsoft.com/office/officeart/2005/8/layout/hierarchy1"/>
    <dgm:cxn modelId="{8EBFAF2A-1BA7-41D5-B50B-10F506D9B703}" type="presParOf" srcId="{E457107E-7078-4E10-BE41-6A41509EAFB6}" destId="{8567679C-D3D8-4963-9924-BD2298E3ED60}" srcOrd="2" destOrd="0" presId="urn:microsoft.com/office/officeart/2005/8/layout/hierarchy1"/>
    <dgm:cxn modelId="{5BA241AB-49D6-4977-999D-CDB602F41A72}" type="presParOf" srcId="{E457107E-7078-4E10-BE41-6A41509EAFB6}" destId="{C7F5D011-B4CD-43AF-BE58-35A24A0EA201}" srcOrd="3" destOrd="0" presId="urn:microsoft.com/office/officeart/2005/8/layout/hierarchy1"/>
    <dgm:cxn modelId="{AEADF087-1C59-407E-89EA-1DE46705047A}" type="presParOf" srcId="{C7F5D011-B4CD-43AF-BE58-35A24A0EA201}" destId="{FC4AE2A6-5791-44A9-8925-D57459306F04}" srcOrd="0" destOrd="0" presId="urn:microsoft.com/office/officeart/2005/8/layout/hierarchy1"/>
    <dgm:cxn modelId="{F74702FE-807D-4C37-9DF2-5091DAA684AC}" type="presParOf" srcId="{FC4AE2A6-5791-44A9-8925-D57459306F04}" destId="{E9F1B1CE-4204-4A8C-967F-E6BC0A01F930}" srcOrd="0" destOrd="0" presId="urn:microsoft.com/office/officeart/2005/8/layout/hierarchy1"/>
    <dgm:cxn modelId="{99E2E7FC-1EBC-4133-A3D6-B157B0E39178}" type="presParOf" srcId="{FC4AE2A6-5791-44A9-8925-D57459306F04}" destId="{B60F7A54-D332-4760-80BF-D3EA417485DE}" srcOrd="1" destOrd="0" presId="urn:microsoft.com/office/officeart/2005/8/layout/hierarchy1"/>
    <dgm:cxn modelId="{9FE6184D-A79F-4744-98A7-2EFD40FEEC7F}" type="presParOf" srcId="{C7F5D011-B4CD-43AF-BE58-35A24A0EA201}" destId="{93512F03-3ED6-4334-9BB8-09D08D9F1D8B}" srcOrd="1" destOrd="0" presId="urn:microsoft.com/office/officeart/2005/8/layout/hierarchy1"/>
    <dgm:cxn modelId="{1B0E5858-8031-4A34-9A89-01F9C022FE97}" type="presParOf" srcId="{E457107E-7078-4E10-BE41-6A41509EAFB6}" destId="{87D235D0-4880-4A89-BDB3-F0FB8586E29B}" srcOrd="4" destOrd="0" presId="urn:microsoft.com/office/officeart/2005/8/layout/hierarchy1"/>
    <dgm:cxn modelId="{C7BBD742-F53A-4B2B-BB54-CFD2BAB0038C}" type="presParOf" srcId="{E457107E-7078-4E10-BE41-6A41509EAFB6}" destId="{C5D0EA81-1D61-468D-B759-93794F4C3254}" srcOrd="5" destOrd="0" presId="urn:microsoft.com/office/officeart/2005/8/layout/hierarchy1"/>
    <dgm:cxn modelId="{A442AE4C-E466-470A-8655-8D3D0BFD4CD3}" type="presParOf" srcId="{C5D0EA81-1D61-468D-B759-93794F4C3254}" destId="{4AF3FBC9-15CF-4268-AFFE-EEE2B2DF3641}" srcOrd="0" destOrd="0" presId="urn:microsoft.com/office/officeart/2005/8/layout/hierarchy1"/>
    <dgm:cxn modelId="{3890D4E8-C079-4186-8329-814320D29E41}" type="presParOf" srcId="{4AF3FBC9-15CF-4268-AFFE-EEE2B2DF3641}" destId="{C3A80E7D-77D2-4264-AFD5-AB86B3867C55}" srcOrd="0" destOrd="0" presId="urn:microsoft.com/office/officeart/2005/8/layout/hierarchy1"/>
    <dgm:cxn modelId="{097EFCC8-9400-44D6-99E7-AECADDE39786}" type="presParOf" srcId="{4AF3FBC9-15CF-4268-AFFE-EEE2B2DF3641}" destId="{4ABC18FC-C98A-43D9-8F9C-975CB125D8EB}" srcOrd="1" destOrd="0" presId="urn:microsoft.com/office/officeart/2005/8/layout/hierarchy1"/>
    <dgm:cxn modelId="{1D5CA112-1D3E-4202-B3CE-9E28FC333365}" type="presParOf" srcId="{C5D0EA81-1D61-468D-B759-93794F4C3254}" destId="{253CA4C4-B714-4702-8503-26FC9387314B}" srcOrd="1" destOrd="0" presId="urn:microsoft.com/office/officeart/2005/8/layout/hierarchy1"/>
    <dgm:cxn modelId="{CD96B2F3-98CA-4021-9404-5DA9F83E0CE5}" type="presParOf" srcId="{E457107E-7078-4E10-BE41-6A41509EAFB6}" destId="{D8162ADB-EF7E-4CBF-8A8F-AD80137F11C8}" srcOrd="6" destOrd="0" presId="urn:microsoft.com/office/officeart/2005/8/layout/hierarchy1"/>
    <dgm:cxn modelId="{92336A28-C55D-4B12-904F-3540AF1D006E}" type="presParOf" srcId="{E457107E-7078-4E10-BE41-6A41509EAFB6}" destId="{C6F8B91E-F07C-40ED-86F6-A91172E206B1}" srcOrd="7" destOrd="0" presId="urn:microsoft.com/office/officeart/2005/8/layout/hierarchy1"/>
    <dgm:cxn modelId="{FAF9F663-C1CF-480A-8749-C730AD6C9291}" type="presParOf" srcId="{C6F8B91E-F07C-40ED-86F6-A91172E206B1}" destId="{8692AB3D-3B51-4B67-A01F-CD04EAB43B55}" srcOrd="0" destOrd="0" presId="urn:microsoft.com/office/officeart/2005/8/layout/hierarchy1"/>
    <dgm:cxn modelId="{5016DA5D-F112-4E78-B914-8349D088B0C5}" type="presParOf" srcId="{8692AB3D-3B51-4B67-A01F-CD04EAB43B55}" destId="{AA8DD5B0-03E0-499B-8157-89B3B1A87C79}" srcOrd="0" destOrd="0" presId="urn:microsoft.com/office/officeart/2005/8/layout/hierarchy1"/>
    <dgm:cxn modelId="{EEF966B3-551D-482F-84E8-F6CDB73FA32A}" type="presParOf" srcId="{8692AB3D-3B51-4B67-A01F-CD04EAB43B55}" destId="{F7721331-7E94-406A-B88A-A13183BB1C2D}" srcOrd="1" destOrd="0" presId="urn:microsoft.com/office/officeart/2005/8/layout/hierarchy1"/>
    <dgm:cxn modelId="{E7D53FE8-600A-4916-8173-9C8761D3B5D6}" type="presParOf" srcId="{C6F8B91E-F07C-40ED-86F6-A91172E206B1}" destId="{49670344-97D1-4A60-97E5-E063ECE14CBB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6250247A-9B95-4917-A6B3-057643276864}" type="doc">
      <dgm:prSet loTypeId="urn:microsoft.com/office/officeart/2005/8/layout/hierarchy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9EB06AA-6583-41C7-9D35-E3D995B35C73}">
      <dgm:prSet phldrT="[Text]"/>
      <dgm:spPr>
        <a:solidFill>
          <a:srgbClr val="002060">
            <a:alpha val="90000"/>
          </a:srgbClr>
        </a:solidFill>
      </dgm:spPr>
      <dgm:t>
        <a:bodyPr/>
        <a:lstStyle/>
        <a:p>
          <a:r>
            <a:rPr lang="en-US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rPr>
            <a:t>Steering Committee</a:t>
          </a:r>
        </a:p>
      </dgm:t>
    </dgm:pt>
    <dgm:pt modelId="{2242FD3B-EC67-4E15-BB68-E7994FF2DD5C}" type="parTrans" cxnId="{18BBEADF-D2D0-4631-8032-5777F3E86998}">
      <dgm:prSet/>
      <dgm:spPr/>
      <dgm:t>
        <a:bodyPr/>
        <a:lstStyle/>
        <a:p>
          <a:endParaRPr lang="en-US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B6E5FD40-A0C8-45B7-AC0B-F9C8FEFA4EBF}" type="sibTrans" cxnId="{18BBEADF-D2D0-4631-8032-5777F3E86998}">
      <dgm:prSet/>
      <dgm:spPr/>
      <dgm:t>
        <a:bodyPr/>
        <a:lstStyle/>
        <a:p>
          <a:endParaRPr lang="en-US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76B5C5E7-1915-4509-BA2C-4C0F245AFAEE}">
      <dgm:prSet phldrT="[Text]"/>
      <dgm:spPr/>
      <dgm:t>
        <a:bodyPr/>
        <a:lstStyle/>
        <a:p>
          <a:r>
            <a:rPr lang="en-US" dirty="0">
              <a:solidFill>
                <a:srgbClr val="002060"/>
              </a:solidFill>
              <a:latin typeface="Verdana" panose="020B0604030504040204" pitchFamily="34" charset="0"/>
              <a:ea typeface="Verdana" panose="020B0604030504040204" pitchFamily="34" charset="0"/>
            </a:rPr>
            <a:t>Design Team </a:t>
          </a:r>
        </a:p>
      </dgm:t>
    </dgm:pt>
    <dgm:pt modelId="{02ED0BD2-3188-4698-B9AD-E8200F6DC0E4}" type="parTrans" cxnId="{EB5065C1-2B98-4F07-92D6-243CA3B01250}">
      <dgm:prSet/>
      <dgm:spPr/>
      <dgm:t>
        <a:bodyPr/>
        <a:lstStyle/>
        <a:p>
          <a:endParaRPr lang="en-US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7AF88F85-006E-42F3-90F1-7A595FDFC86A}" type="sibTrans" cxnId="{EB5065C1-2B98-4F07-92D6-243CA3B01250}">
      <dgm:prSet/>
      <dgm:spPr/>
      <dgm:t>
        <a:bodyPr/>
        <a:lstStyle/>
        <a:p>
          <a:endParaRPr lang="en-US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2AE59D10-ED75-4B27-BEC1-F0B01673DC5C}" type="pres">
      <dgm:prSet presAssocID="{6250247A-9B95-4917-A6B3-057643276864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0CC6360F-6F0F-4A3E-AC45-5BE58C10E39A}" type="pres">
      <dgm:prSet presAssocID="{99EB06AA-6583-41C7-9D35-E3D995B35C73}" presName="hierRoot1" presStyleCnt="0"/>
      <dgm:spPr/>
    </dgm:pt>
    <dgm:pt modelId="{1F1DB9B6-A49A-4605-8028-B683FC0DE606}" type="pres">
      <dgm:prSet presAssocID="{99EB06AA-6583-41C7-9D35-E3D995B35C73}" presName="composite" presStyleCnt="0"/>
      <dgm:spPr/>
    </dgm:pt>
    <dgm:pt modelId="{AECABF95-FA5C-4A1E-A125-6AEA5BEFA330}" type="pres">
      <dgm:prSet presAssocID="{99EB06AA-6583-41C7-9D35-E3D995B35C73}" presName="background" presStyleLbl="node0" presStyleIdx="0" presStyleCnt="1"/>
      <dgm:spPr>
        <a:solidFill>
          <a:srgbClr val="D5F4FF"/>
        </a:solidFill>
      </dgm:spPr>
    </dgm:pt>
    <dgm:pt modelId="{97751300-E3ED-4C3E-85FF-F5BB24A30A55}" type="pres">
      <dgm:prSet presAssocID="{99EB06AA-6583-41C7-9D35-E3D995B35C73}" presName="text" presStyleLbl="fgAcc0" presStyleIdx="0" presStyleCnt="1">
        <dgm:presLayoutVars>
          <dgm:chPref val="3"/>
        </dgm:presLayoutVars>
      </dgm:prSet>
      <dgm:spPr/>
    </dgm:pt>
    <dgm:pt modelId="{E457107E-7078-4E10-BE41-6A41509EAFB6}" type="pres">
      <dgm:prSet presAssocID="{99EB06AA-6583-41C7-9D35-E3D995B35C73}" presName="hierChild2" presStyleCnt="0"/>
      <dgm:spPr/>
    </dgm:pt>
    <dgm:pt modelId="{B52DE55E-FF6E-4DD7-943F-9A334BB4A00C}" type="pres">
      <dgm:prSet presAssocID="{02ED0BD2-3188-4698-B9AD-E8200F6DC0E4}" presName="Name10" presStyleLbl="parChTrans1D2" presStyleIdx="0" presStyleCnt="1"/>
      <dgm:spPr/>
    </dgm:pt>
    <dgm:pt modelId="{FFA9E889-91E7-4F02-BAA3-D0B67E2AE74C}" type="pres">
      <dgm:prSet presAssocID="{76B5C5E7-1915-4509-BA2C-4C0F245AFAEE}" presName="hierRoot2" presStyleCnt="0"/>
      <dgm:spPr/>
    </dgm:pt>
    <dgm:pt modelId="{1FB566CE-0359-4EAE-B53C-83D44289FF25}" type="pres">
      <dgm:prSet presAssocID="{76B5C5E7-1915-4509-BA2C-4C0F245AFAEE}" presName="composite2" presStyleCnt="0"/>
      <dgm:spPr/>
    </dgm:pt>
    <dgm:pt modelId="{B2272F23-3F9D-49BE-A15C-8313ADE38E3D}" type="pres">
      <dgm:prSet presAssocID="{76B5C5E7-1915-4509-BA2C-4C0F245AFAEE}" presName="background2" presStyleLbl="node2" presStyleIdx="0" presStyleCnt="1"/>
      <dgm:spPr>
        <a:solidFill>
          <a:srgbClr val="D5F4FF"/>
        </a:solidFill>
      </dgm:spPr>
    </dgm:pt>
    <dgm:pt modelId="{236910C7-B778-4BAC-B83B-64CB2C591158}" type="pres">
      <dgm:prSet presAssocID="{76B5C5E7-1915-4509-BA2C-4C0F245AFAEE}" presName="text2" presStyleLbl="fgAcc2" presStyleIdx="0" presStyleCnt="1">
        <dgm:presLayoutVars>
          <dgm:chPref val="3"/>
        </dgm:presLayoutVars>
      </dgm:prSet>
      <dgm:spPr/>
    </dgm:pt>
    <dgm:pt modelId="{9E4FE501-C96F-41C1-9868-BFB1E6A604ED}" type="pres">
      <dgm:prSet presAssocID="{76B5C5E7-1915-4509-BA2C-4C0F245AFAEE}" presName="hierChild3" presStyleCnt="0"/>
      <dgm:spPr/>
    </dgm:pt>
  </dgm:ptLst>
  <dgm:cxnLst>
    <dgm:cxn modelId="{3B2C9236-0780-480B-ADBA-75473772099F}" type="presOf" srcId="{02ED0BD2-3188-4698-B9AD-E8200F6DC0E4}" destId="{B52DE55E-FF6E-4DD7-943F-9A334BB4A00C}" srcOrd="0" destOrd="0" presId="urn:microsoft.com/office/officeart/2005/8/layout/hierarchy1"/>
    <dgm:cxn modelId="{3067AD39-F7B8-41E9-8834-A1CECCAB24C0}" type="presOf" srcId="{76B5C5E7-1915-4509-BA2C-4C0F245AFAEE}" destId="{236910C7-B778-4BAC-B83B-64CB2C591158}" srcOrd="0" destOrd="0" presId="urn:microsoft.com/office/officeart/2005/8/layout/hierarchy1"/>
    <dgm:cxn modelId="{DB072B8B-2E55-44F8-98A5-089DA5CF2716}" type="presOf" srcId="{6250247A-9B95-4917-A6B3-057643276864}" destId="{2AE59D10-ED75-4B27-BEC1-F0B01673DC5C}" srcOrd="0" destOrd="0" presId="urn:microsoft.com/office/officeart/2005/8/layout/hierarchy1"/>
    <dgm:cxn modelId="{F149F5A2-727D-4555-B73B-F3818AD0DF82}" type="presOf" srcId="{99EB06AA-6583-41C7-9D35-E3D995B35C73}" destId="{97751300-E3ED-4C3E-85FF-F5BB24A30A55}" srcOrd="0" destOrd="0" presId="urn:microsoft.com/office/officeart/2005/8/layout/hierarchy1"/>
    <dgm:cxn modelId="{EB5065C1-2B98-4F07-92D6-243CA3B01250}" srcId="{99EB06AA-6583-41C7-9D35-E3D995B35C73}" destId="{76B5C5E7-1915-4509-BA2C-4C0F245AFAEE}" srcOrd="0" destOrd="0" parTransId="{02ED0BD2-3188-4698-B9AD-E8200F6DC0E4}" sibTransId="{7AF88F85-006E-42F3-90F1-7A595FDFC86A}"/>
    <dgm:cxn modelId="{18BBEADF-D2D0-4631-8032-5777F3E86998}" srcId="{6250247A-9B95-4917-A6B3-057643276864}" destId="{99EB06AA-6583-41C7-9D35-E3D995B35C73}" srcOrd="0" destOrd="0" parTransId="{2242FD3B-EC67-4E15-BB68-E7994FF2DD5C}" sibTransId="{B6E5FD40-A0C8-45B7-AC0B-F9C8FEFA4EBF}"/>
    <dgm:cxn modelId="{1382FEE5-977F-4274-84DF-82DB90917F42}" type="presParOf" srcId="{2AE59D10-ED75-4B27-BEC1-F0B01673DC5C}" destId="{0CC6360F-6F0F-4A3E-AC45-5BE58C10E39A}" srcOrd="0" destOrd="0" presId="urn:microsoft.com/office/officeart/2005/8/layout/hierarchy1"/>
    <dgm:cxn modelId="{2D2CD580-E5D0-42EC-B614-49BAF769013D}" type="presParOf" srcId="{0CC6360F-6F0F-4A3E-AC45-5BE58C10E39A}" destId="{1F1DB9B6-A49A-4605-8028-B683FC0DE606}" srcOrd="0" destOrd="0" presId="urn:microsoft.com/office/officeart/2005/8/layout/hierarchy1"/>
    <dgm:cxn modelId="{AC70EC5D-E5EF-4543-8CF1-347B93DCF08C}" type="presParOf" srcId="{1F1DB9B6-A49A-4605-8028-B683FC0DE606}" destId="{AECABF95-FA5C-4A1E-A125-6AEA5BEFA330}" srcOrd="0" destOrd="0" presId="urn:microsoft.com/office/officeart/2005/8/layout/hierarchy1"/>
    <dgm:cxn modelId="{F86A5CC4-75A8-4F70-8F33-3E8CBCBB726D}" type="presParOf" srcId="{1F1DB9B6-A49A-4605-8028-B683FC0DE606}" destId="{97751300-E3ED-4C3E-85FF-F5BB24A30A55}" srcOrd="1" destOrd="0" presId="urn:microsoft.com/office/officeart/2005/8/layout/hierarchy1"/>
    <dgm:cxn modelId="{E2993453-D9A8-4701-B9E2-ADD411AB6F05}" type="presParOf" srcId="{0CC6360F-6F0F-4A3E-AC45-5BE58C10E39A}" destId="{E457107E-7078-4E10-BE41-6A41509EAFB6}" srcOrd="1" destOrd="0" presId="urn:microsoft.com/office/officeart/2005/8/layout/hierarchy1"/>
    <dgm:cxn modelId="{BD17E62C-6FD5-476B-BC88-2BBFE5B3F8BA}" type="presParOf" srcId="{E457107E-7078-4E10-BE41-6A41509EAFB6}" destId="{B52DE55E-FF6E-4DD7-943F-9A334BB4A00C}" srcOrd="0" destOrd="0" presId="urn:microsoft.com/office/officeart/2005/8/layout/hierarchy1"/>
    <dgm:cxn modelId="{E25651F5-9570-4471-BB22-DB26521C508E}" type="presParOf" srcId="{E457107E-7078-4E10-BE41-6A41509EAFB6}" destId="{FFA9E889-91E7-4F02-BAA3-D0B67E2AE74C}" srcOrd="1" destOrd="0" presId="urn:microsoft.com/office/officeart/2005/8/layout/hierarchy1"/>
    <dgm:cxn modelId="{67DAD4A5-92A3-4864-91E1-20AB332A55D0}" type="presParOf" srcId="{FFA9E889-91E7-4F02-BAA3-D0B67E2AE74C}" destId="{1FB566CE-0359-4EAE-B53C-83D44289FF25}" srcOrd="0" destOrd="0" presId="urn:microsoft.com/office/officeart/2005/8/layout/hierarchy1"/>
    <dgm:cxn modelId="{E7D4D633-F961-4AAA-92C3-2C08F344FF43}" type="presParOf" srcId="{1FB566CE-0359-4EAE-B53C-83D44289FF25}" destId="{B2272F23-3F9D-49BE-A15C-8313ADE38E3D}" srcOrd="0" destOrd="0" presId="urn:microsoft.com/office/officeart/2005/8/layout/hierarchy1"/>
    <dgm:cxn modelId="{706E4E81-AED4-4E72-8CC1-1D0417846214}" type="presParOf" srcId="{1FB566CE-0359-4EAE-B53C-83D44289FF25}" destId="{236910C7-B778-4BAC-B83B-64CB2C591158}" srcOrd="1" destOrd="0" presId="urn:microsoft.com/office/officeart/2005/8/layout/hierarchy1"/>
    <dgm:cxn modelId="{BA150320-153A-46DA-9563-7A91009F3DEE}" type="presParOf" srcId="{FFA9E889-91E7-4F02-BAA3-D0B67E2AE74C}" destId="{9E4FE501-C96F-41C1-9868-BFB1E6A604ED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6250247A-9B95-4917-A6B3-057643276864}" type="doc">
      <dgm:prSet loTypeId="urn:microsoft.com/office/officeart/2005/8/layout/hierarchy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9EB06AA-6583-41C7-9D35-E3D995B35C73}">
      <dgm:prSet phldrT="[Text]"/>
      <dgm:spPr>
        <a:solidFill>
          <a:srgbClr val="002060">
            <a:alpha val="90000"/>
          </a:srgbClr>
        </a:solidFill>
      </dgm:spPr>
      <dgm:t>
        <a:bodyPr/>
        <a:lstStyle/>
        <a:p>
          <a:r>
            <a:rPr lang="en-US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rPr>
            <a:t>Steering Committee</a:t>
          </a:r>
        </a:p>
      </dgm:t>
    </dgm:pt>
    <dgm:pt modelId="{2242FD3B-EC67-4E15-BB68-E7994FF2DD5C}" type="parTrans" cxnId="{18BBEADF-D2D0-4631-8032-5777F3E86998}">
      <dgm:prSet/>
      <dgm:spPr/>
      <dgm:t>
        <a:bodyPr/>
        <a:lstStyle/>
        <a:p>
          <a:endParaRPr lang="en-US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B6E5FD40-A0C8-45B7-AC0B-F9C8FEFA4EBF}" type="sibTrans" cxnId="{18BBEADF-D2D0-4631-8032-5777F3E86998}">
      <dgm:prSet/>
      <dgm:spPr/>
      <dgm:t>
        <a:bodyPr/>
        <a:lstStyle/>
        <a:p>
          <a:endParaRPr lang="en-US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76B5C5E7-1915-4509-BA2C-4C0F245AFAEE}">
      <dgm:prSet phldrT="[Text]"/>
      <dgm:spPr/>
      <dgm:t>
        <a:bodyPr/>
        <a:lstStyle/>
        <a:p>
          <a:r>
            <a:rPr lang="en-US" dirty="0">
              <a:solidFill>
                <a:srgbClr val="002060"/>
              </a:solidFill>
              <a:latin typeface="Verdana" panose="020B0604030504040204" pitchFamily="34" charset="0"/>
              <a:ea typeface="Verdana" panose="020B0604030504040204" pitchFamily="34" charset="0"/>
            </a:rPr>
            <a:t>Design Team </a:t>
          </a:r>
        </a:p>
      </dgm:t>
    </dgm:pt>
    <dgm:pt modelId="{02ED0BD2-3188-4698-B9AD-E8200F6DC0E4}" type="parTrans" cxnId="{EB5065C1-2B98-4F07-92D6-243CA3B01250}">
      <dgm:prSet/>
      <dgm:spPr/>
      <dgm:t>
        <a:bodyPr/>
        <a:lstStyle/>
        <a:p>
          <a:endParaRPr lang="en-US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7AF88F85-006E-42F3-90F1-7A595FDFC86A}" type="sibTrans" cxnId="{EB5065C1-2B98-4F07-92D6-243CA3B01250}">
      <dgm:prSet/>
      <dgm:spPr/>
      <dgm:t>
        <a:bodyPr/>
        <a:lstStyle/>
        <a:p>
          <a:endParaRPr lang="en-US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2AE59D10-ED75-4B27-BEC1-F0B01673DC5C}" type="pres">
      <dgm:prSet presAssocID="{6250247A-9B95-4917-A6B3-057643276864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0CC6360F-6F0F-4A3E-AC45-5BE58C10E39A}" type="pres">
      <dgm:prSet presAssocID="{99EB06AA-6583-41C7-9D35-E3D995B35C73}" presName="hierRoot1" presStyleCnt="0"/>
      <dgm:spPr/>
    </dgm:pt>
    <dgm:pt modelId="{1F1DB9B6-A49A-4605-8028-B683FC0DE606}" type="pres">
      <dgm:prSet presAssocID="{99EB06AA-6583-41C7-9D35-E3D995B35C73}" presName="composite" presStyleCnt="0"/>
      <dgm:spPr/>
    </dgm:pt>
    <dgm:pt modelId="{AECABF95-FA5C-4A1E-A125-6AEA5BEFA330}" type="pres">
      <dgm:prSet presAssocID="{99EB06AA-6583-41C7-9D35-E3D995B35C73}" presName="background" presStyleLbl="node0" presStyleIdx="0" presStyleCnt="1"/>
      <dgm:spPr>
        <a:solidFill>
          <a:srgbClr val="D5F4FF"/>
        </a:solidFill>
      </dgm:spPr>
    </dgm:pt>
    <dgm:pt modelId="{97751300-E3ED-4C3E-85FF-F5BB24A30A55}" type="pres">
      <dgm:prSet presAssocID="{99EB06AA-6583-41C7-9D35-E3D995B35C73}" presName="text" presStyleLbl="fgAcc0" presStyleIdx="0" presStyleCnt="1">
        <dgm:presLayoutVars>
          <dgm:chPref val="3"/>
        </dgm:presLayoutVars>
      </dgm:prSet>
      <dgm:spPr/>
    </dgm:pt>
    <dgm:pt modelId="{E457107E-7078-4E10-BE41-6A41509EAFB6}" type="pres">
      <dgm:prSet presAssocID="{99EB06AA-6583-41C7-9D35-E3D995B35C73}" presName="hierChild2" presStyleCnt="0"/>
      <dgm:spPr/>
    </dgm:pt>
    <dgm:pt modelId="{B52DE55E-FF6E-4DD7-943F-9A334BB4A00C}" type="pres">
      <dgm:prSet presAssocID="{02ED0BD2-3188-4698-B9AD-E8200F6DC0E4}" presName="Name10" presStyleLbl="parChTrans1D2" presStyleIdx="0" presStyleCnt="1"/>
      <dgm:spPr/>
    </dgm:pt>
    <dgm:pt modelId="{FFA9E889-91E7-4F02-BAA3-D0B67E2AE74C}" type="pres">
      <dgm:prSet presAssocID="{76B5C5E7-1915-4509-BA2C-4C0F245AFAEE}" presName="hierRoot2" presStyleCnt="0"/>
      <dgm:spPr/>
    </dgm:pt>
    <dgm:pt modelId="{1FB566CE-0359-4EAE-B53C-83D44289FF25}" type="pres">
      <dgm:prSet presAssocID="{76B5C5E7-1915-4509-BA2C-4C0F245AFAEE}" presName="composite2" presStyleCnt="0"/>
      <dgm:spPr/>
    </dgm:pt>
    <dgm:pt modelId="{B2272F23-3F9D-49BE-A15C-8313ADE38E3D}" type="pres">
      <dgm:prSet presAssocID="{76B5C5E7-1915-4509-BA2C-4C0F245AFAEE}" presName="background2" presStyleLbl="node2" presStyleIdx="0" presStyleCnt="1"/>
      <dgm:spPr>
        <a:solidFill>
          <a:srgbClr val="D5F4FF"/>
        </a:solidFill>
      </dgm:spPr>
    </dgm:pt>
    <dgm:pt modelId="{236910C7-B778-4BAC-B83B-64CB2C591158}" type="pres">
      <dgm:prSet presAssocID="{76B5C5E7-1915-4509-BA2C-4C0F245AFAEE}" presName="text2" presStyleLbl="fgAcc2" presStyleIdx="0" presStyleCnt="1">
        <dgm:presLayoutVars>
          <dgm:chPref val="3"/>
        </dgm:presLayoutVars>
      </dgm:prSet>
      <dgm:spPr/>
    </dgm:pt>
    <dgm:pt modelId="{9E4FE501-C96F-41C1-9868-BFB1E6A604ED}" type="pres">
      <dgm:prSet presAssocID="{76B5C5E7-1915-4509-BA2C-4C0F245AFAEE}" presName="hierChild3" presStyleCnt="0"/>
      <dgm:spPr/>
    </dgm:pt>
  </dgm:ptLst>
  <dgm:cxnLst>
    <dgm:cxn modelId="{3B2C9236-0780-480B-ADBA-75473772099F}" type="presOf" srcId="{02ED0BD2-3188-4698-B9AD-E8200F6DC0E4}" destId="{B52DE55E-FF6E-4DD7-943F-9A334BB4A00C}" srcOrd="0" destOrd="0" presId="urn:microsoft.com/office/officeart/2005/8/layout/hierarchy1"/>
    <dgm:cxn modelId="{3067AD39-F7B8-41E9-8834-A1CECCAB24C0}" type="presOf" srcId="{76B5C5E7-1915-4509-BA2C-4C0F245AFAEE}" destId="{236910C7-B778-4BAC-B83B-64CB2C591158}" srcOrd="0" destOrd="0" presId="urn:microsoft.com/office/officeart/2005/8/layout/hierarchy1"/>
    <dgm:cxn modelId="{DB072B8B-2E55-44F8-98A5-089DA5CF2716}" type="presOf" srcId="{6250247A-9B95-4917-A6B3-057643276864}" destId="{2AE59D10-ED75-4B27-BEC1-F0B01673DC5C}" srcOrd="0" destOrd="0" presId="urn:microsoft.com/office/officeart/2005/8/layout/hierarchy1"/>
    <dgm:cxn modelId="{F149F5A2-727D-4555-B73B-F3818AD0DF82}" type="presOf" srcId="{99EB06AA-6583-41C7-9D35-E3D995B35C73}" destId="{97751300-E3ED-4C3E-85FF-F5BB24A30A55}" srcOrd="0" destOrd="0" presId="urn:microsoft.com/office/officeart/2005/8/layout/hierarchy1"/>
    <dgm:cxn modelId="{EB5065C1-2B98-4F07-92D6-243CA3B01250}" srcId="{99EB06AA-6583-41C7-9D35-E3D995B35C73}" destId="{76B5C5E7-1915-4509-BA2C-4C0F245AFAEE}" srcOrd="0" destOrd="0" parTransId="{02ED0BD2-3188-4698-B9AD-E8200F6DC0E4}" sibTransId="{7AF88F85-006E-42F3-90F1-7A595FDFC86A}"/>
    <dgm:cxn modelId="{18BBEADF-D2D0-4631-8032-5777F3E86998}" srcId="{6250247A-9B95-4917-A6B3-057643276864}" destId="{99EB06AA-6583-41C7-9D35-E3D995B35C73}" srcOrd="0" destOrd="0" parTransId="{2242FD3B-EC67-4E15-BB68-E7994FF2DD5C}" sibTransId="{B6E5FD40-A0C8-45B7-AC0B-F9C8FEFA4EBF}"/>
    <dgm:cxn modelId="{1382FEE5-977F-4274-84DF-82DB90917F42}" type="presParOf" srcId="{2AE59D10-ED75-4B27-BEC1-F0B01673DC5C}" destId="{0CC6360F-6F0F-4A3E-AC45-5BE58C10E39A}" srcOrd="0" destOrd="0" presId="urn:microsoft.com/office/officeart/2005/8/layout/hierarchy1"/>
    <dgm:cxn modelId="{2D2CD580-E5D0-42EC-B614-49BAF769013D}" type="presParOf" srcId="{0CC6360F-6F0F-4A3E-AC45-5BE58C10E39A}" destId="{1F1DB9B6-A49A-4605-8028-B683FC0DE606}" srcOrd="0" destOrd="0" presId="urn:microsoft.com/office/officeart/2005/8/layout/hierarchy1"/>
    <dgm:cxn modelId="{AC70EC5D-E5EF-4543-8CF1-347B93DCF08C}" type="presParOf" srcId="{1F1DB9B6-A49A-4605-8028-B683FC0DE606}" destId="{AECABF95-FA5C-4A1E-A125-6AEA5BEFA330}" srcOrd="0" destOrd="0" presId="urn:microsoft.com/office/officeart/2005/8/layout/hierarchy1"/>
    <dgm:cxn modelId="{F86A5CC4-75A8-4F70-8F33-3E8CBCBB726D}" type="presParOf" srcId="{1F1DB9B6-A49A-4605-8028-B683FC0DE606}" destId="{97751300-E3ED-4C3E-85FF-F5BB24A30A55}" srcOrd="1" destOrd="0" presId="urn:microsoft.com/office/officeart/2005/8/layout/hierarchy1"/>
    <dgm:cxn modelId="{E2993453-D9A8-4701-B9E2-ADD411AB6F05}" type="presParOf" srcId="{0CC6360F-6F0F-4A3E-AC45-5BE58C10E39A}" destId="{E457107E-7078-4E10-BE41-6A41509EAFB6}" srcOrd="1" destOrd="0" presId="urn:microsoft.com/office/officeart/2005/8/layout/hierarchy1"/>
    <dgm:cxn modelId="{BD17E62C-6FD5-476B-BC88-2BBFE5B3F8BA}" type="presParOf" srcId="{E457107E-7078-4E10-BE41-6A41509EAFB6}" destId="{B52DE55E-FF6E-4DD7-943F-9A334BB4A00C}" srcOrd="0" destOrd="0" presId="urn:microsoft.com/office/officeart/2005/8/layout/hierarchy1"/>
    <dgm:cxn modelId="{E25651F5-9570-4471-BB22-DB26521C508E}" type="presParOf" srcId="{E457107E-7078-4E10-BE41-6A41509EAFB6}" destId="{FFA9E889-91E7-4F02-BAA3-D0B67E2AE74C}" srcOrd="1" destOrd="0" presId="urn:microsoft.com/office/officeart/2005/8/layout/hierarchy1"/>
    <dgm:cxn modelId="{67DAD4A5-92A3-4864-91E1-20AB332A55D0}" type="presParOf" srcId="{FFA9E889-91E7-4F02-BAA3-D0B67E2AE74C}" destId="{1FB566CE-0359-4EAE-B53C-83D44289FF25}" srcOrd="0" destOrd="0" presId="urn:microsoft.com/office/officeart/2005/8/layout/hierarchy1"/>
    <dgm:cxn modelId="{E7D4D633-F961-4AAA-92C3-2C08F344FF43}" type="presParOf" srcId="{1FB566CE-0359-4EAE-B53C-83D44289FF25}" destId="{B2272F23-3F9D-49BE-A15C-8313ADE38E3D}" srcOrd="0" destOrd="0" presId="urn:microsoft.com/office/officeart/2005/8/layout/hierarchy1"/>
    <dgm:cxn modelId="{706E4E81-AED4-4E72-8CC1-1D0417846214}" type="presParOf" srcId="{1FB566CE-0359-4EAE-B53C-83D44289FF25}" destId="{236910C7-B778-4BAC-B83B-64CB2C591158}" srcOrd="1" destOrd="0" presId="urn:microsoft.com/office/officeart/2005/8/layout/hierarchy1"/>
    <dgm:cxn modelId="{BA150320-153A-46DA-9563-7A91009F3DEE}" type="presParOf" srcId="{FFA9E889-91E7-4F02-BAA3-D0B67E2AE74C}" destId="{9E4FE501-C96F-41C1-9868-BFB1E6A604ED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7307E4D1-6DE5-4901-8684-AA9B316E55E2}" type="doc">
      <dgm:prSet loTypeId="urn:microsoft.com/office/officeart/2005/8/layout/vList6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1653DDC3-C30A-44A9-B11C-AE5A7A4B6716}">
      <dgm:prSet phldrT="[Text]" custT="1"/>
      <dgm:spPr>
        <a:solidFill>
          <a:srgbClr val="D5F4FF"/>
        </a:solidFill>
        <a:ln w="19050" cap="flat" cmpd="sng" algn="ctr">
          <a:solidFill>
            <a:srgbClr val="0070C0"/>
          </a:solidFill>
          <a:prstDash val="solid"/>
          <a:miter lim="800000"/>
        </a:ln>
        <a:effectLst/>
      </dgm:spPr>
      <dgm:t>
        <a:bodyPr spcFirstLastPara="0" vert="horz" wrap="square" lIns="57150" tIns="57150" rIns="57150" bIns="57150" numCol="1" spcCol="1270" anchor="ctr" anchorCtr="0"/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 dirty="0">
            <a:solidFill>
              <a:srgbClr val="5B9BD5">
                <a:lumMod val="50000"/>
              </a:srgbClr>
            </a:solidFill>
            <a:latin typeface="Verdana" panose="020B0604030504040204" pitchFamily="34" charset="0"/>
            <a:ea typeface="Verdana" panose="020B0604030504040204" pitchFamily="34" charset="0"/>
            <a:cs typeface="+mn-cs"/>
          </a:endParaRPr>
        </a:p>
      </dgm:t>
    </dgm:pt>
    <dgm:pt modelId="{54AB22B2-02E3-4BD9-8C8A-C6E4E5BFC694}" type="parTrans" cxnId="{E0570264-100D-457B-AD60-D04B8917F079}">
      <dgm:prSet/>
      <dgm:spPr/>
      <dgm:t>
        <a:bodyPr/>
        <a:lstStyle/>
        <a:p>
          <a:endParaRPr lang="en-US" sz="1400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5AFDD7FA-A0B2-408E-894B-F024B8AE0CB3}" type="sibTrans" cxnId="{E0570264-100D-457B-AD60-D04B8917F079}">
      <dgm:prSet/>
      <dgm:spPr/>
      <dgm:t>
        <a:bodyPr/>
        <a:lstStyle/>
        <a:p>
          <a:endParaRPr lang="en-US" sz="1400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08DC15D0-A056-40FA-B262-DC58190AE5B2}">
      <dgm:prSet phldrT="[Text]" custT="1"/>
      <dgm:spPr>
        <a:solidFill>
          <a:srgbClr val="D5F4FF"/>
        </a:solidFill>
        <a:ln w="19050" cap="flat" cmpd="sng" algn="ctr">
          <a:solidFill>
            <a:srgbClr val="0070C0"/>
          </a:solidFill>
          <a:prstDash val="solid"/>
          <a:miter lim="800000"/>
        </a:ln>
        <a:effectLst/>
      </dgm:spPr>
      <dgm:t>
        <a:bodyPr spcFirstLastPara="0" vert="horz" wrap="square" lIns="57150" tIns="57150" rIns="57150" bIns="57150" numCol="1" spcCol="1270" anchor="ctr" anchorCtr="0"/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 dirty="0">
            <a:solidFill>
              <a:srgbClr val="5B9BD5">
                <a:lumMod val="50000"/>
              </a:srgbClr>
            </a:solidFill>
            <a:latin typeface="Verdana" panose="020B0604030504040204" pitchFamily="34" charset="0"/>
            <a:ea typeface="Verdana" panose="020B0604030504040204" pitchFamily="34" charset="0"/>
            <a:cs typeface="+mn-cs"/>
          </a:endParaRPr>
        </a:p>
      </dgm:t>
    </dgm:pt>
    <dgm:pt modelId="{72D47F3B-A447-4AC6-95B9-7148EFF820E4}" type="parTrans" cxnId="{15EAA9BB-5532-48E5-B5B2-4E2510CFDAFE}">
      <dgm:prSet/>
      <dgm:spPr/>
      <dgm:t>
        <a:bodyPr/>
        <a:lstStyle/>
        <a:p>
          <a:endParaRPr lang="en-US" sz="1400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D1D95434-BE91-4547-A6EC-84B50F7822DF}" type="sibTrans" cxnId="{15EAA9BB-5532-48E5-B5B2-4E2510CFDAFE}">
      <dgm:prSet/>
      <dgm:spPr/>
      <dgm:t>
        <a:bodyPr/>
        <a:lstStyle/>
        <a:p>
          <a:endParaRPr lang="en-US" sz="1400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C17B5C28-B867-44CA-9F83-BA4E8FF42771}">
      <dgm:prSet phldrT="[Text]" custT="1"/>
      <dgm:spPr>
        <a:solidFill>
          <a:srgbClr val="D5F4FF"/>
        </a:solidFill>
        <a:ln w="19050" cap="flat" cmpd="sng" algn="ctr">
          <a:solidFill>
            <a:srgbClr val="0070C0"/>
          </a:solidFill>
          <a:prstDash val="solid"/>
          <a:miter lim="800000"/>
        </a:ln>
        <a:effectLst/>
      </dgm:spPr>
      <dgm:t>
        <a:bodyPr spcFirstLastPara="0" vert="horz" wrap="square" lIns="57150" tIns="57150" rIns="57150" bIns="57150" numCol="1" spcCol="1270" anchor="ctr" anchorCtr="0"/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 dirty="0">
            <a:solidFill>
              <a:srgbClr val="5B9BD5">
                <a:lumMod val="50000"/>
              </a:srgbClr>
            </a:solidFill>
            <a:latin typeface="Verdana" panose="020B0604030504040204" pitchFamily="34" charset="0"/>
            <a:ea typeface="Verdana" panose="020B0604030504040204" pitchFamily="34" charset="0"/>
            <a:cs typeface="+mn-cs"/>
          </a:endParaRPr>
        </a:p>
      </dgm:t>
    </dgm:pt>
    <dgm:pt modelId="{755B8405-7429-4C55-8A52-8F08ADE8BDB1}" type="parTrans" cxnId="{ECB1AE6D-7528-4E5E-989C-5CA5FCFE8A8C}">
      <dgm:prSet/>
      <dgm:spPr/>
      <dgm:t>
        <a:bodyPr/>
        <a:lstStyle/>
        <a:p>
          <a:endParaRPr lang="en-US" sz="1400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7166D6BD-D52E-4E98-A191-71A438949343}" type="sibTrans" cxnId="{ECB1AE6D-7528-4E5E-989C-5CA5FCFE8A8C}">
      <dgm:prSet/>
      <dgm:spPr/>
      <dgm:t>
        <a:bodyPr/>
        <a:lstStyle/>
        <a:p>
          <a:endParaRPr lang="en-US" sz="1400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FD020297-9410-4CCE-8FB6-5B11085B25DD}">
      <dgm:prSet phldrT="[Text]" custT="1"/>
      <dgm:spPr>
        <a:solidFill>
          <a:srgbClr val="D5F4FF"/>
        </a:solidFill>
        <a:ln w="19050" cap="flat" cmpd="sng" algn="ctr">
          <a:solidFill>
            <a:srgbClr val="0070C0"/>
          </a:solidFill>
          <a:prstDash val="solid"/>
          <a:miter lim="800000"/>
        </a:ln>
        <a:effectLst/>
      </dgm:spPr>
      <dgm:t>
        <a:bodyPr spcFirstLastPara="0" vert="horz" wrap="square" lIns="57150" tIns="57150" rIns="57150" bIns="57150" numCol="1" spcCol="1270" anchor="ctr" anchorCtr="0"/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 dirty="0">
            <a:solidFill>
              <a:srgbClr val="5B9BD5">
                <a:lumMod val="50000"/>
              </a:srgbClr>
            </a:solidFill>
            <a:latin typeface="Verdana" panose="020B0604030504040204" pitchFamily="34" charset="0"/>
            <a:ea typeface="Verdana" panose="020B0604030504040204" pitchFamily="34" charset="0"/>
            <a:cs typeface="+mn-cs"/>
          </a:endParaRPr>
        </a:p>
      </dgm:t>
    </dgm:pt>
    <dgm:pt modelId="{11524C14-9D47-4284-B1A0-CC8B8FF9BE94}" type="parTrans" cxnId="{EBBA4D94-78FE-46A7-BC7A-9F0E891614C6}">
      <dgm:prSet/>
      <dgm:spPr/>
      <dgm:t>
        <a:bodyPr/>
        <a:lstStyle/>
        <a:p>
          <a:endParaRPr lang="en-US" sz="1400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571AB687-FDFD-4A82-93CC-E1BCB8B3FD9D}" type="sibTrans" cxnId="{EBBA4D94-78FE-46A7-BC7A-9F0E891614C6}">
      <dgm:prSet/>
      <dgm:spPr/>
      <dgm:t>
        <a:bodyPr/>
        <a:lstStyle/>
        <a:p>
          <a:endParaRPr lang="en-US" sz="1400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54D6D2D4-29A4-4461-9665-177842896EBF}">
      <dgm:prSet phldrT="[Text]" custT="1"/>
      <dgm:spPr>
        <a:solidFill>
          <a:srgbClr val="D5F4FF"/>
        </a:solidFill>
        <a:ln w="19050" cap="flat" cmpd="sng" algn="ctr">
          <a:solidFill>
            <a:srgbClr val="0070C0"/>
          </a:solidFill>
          <a:prstDash val="solid"/>
          <a:miter lim="800000"/>
        </a:ln>
        <a:effectLst/>
      </dgm:spPr>
      <dgm:t>
        <a:bodyPr spcFirstLastPara="0" vert="horz" wrap="square" lIns="57150" tIns="57150" rIns="57150" bIns="57150" numCol="1" spcCol="1270" anchor="ctr" anchorCtr="0"/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 dirty="0">
            <a:solidFill>
              <a:srgbClr val="5B9BD5">
                <a:lumMod val="50000"/>
              </a:srgbClr>
            </a:solidFill>
            <a:latin typeface="Verdana" panose="020B0604030504040204" pitchFamily="34" charset="0"/>
            <a:ea typeface="Verdana" panose="020B0604030504040204" pitchFamily="34" charset="0"/>
            <a:cs typeface="+mn-cs"/>
          </a:endParaRPr>
        </a:p>
      </dgm:t>
    </dgm:pt>
    <dgm:pt modelId="{96BC125E-AF95-4FF9-8068-123AEE1ECF0F}" type="parTrans" cxnId="{CD5E117A-CE50-4969-9CCC-DC88F8347F5F}">
      <dgm:prSet/>
      <dgm:spPr/>
      <dgm:t>
        <a:bodyPr/>
        <a:lstStyle/>
        <a:p>
          <a:endParaRPr lang="en-US" sz="1400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EED72A1A-17B5-4172-ACE5-D56E73E3E1C2}" type="sibTrans" cxnId="{CD5E117A-CE50-4969-9CCC-DC88F8347F5F}">
      <dgm:prSet/>
      <dgm:spPr/>
      <dgm:t>
        <a:bodyPr/>
        <a:lstStyle/>
        <a:p>
          <a:endParaRPr lang="en-US" sz="1400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9ABE39FA-0A1C-402D-B808-BC340BB1D354}">
      <dgm:prSet phldrT="[Text]" custT="1"/>
      <dgm:spPr>
        <a:solidFill>
          <a:srgbClr val="D5F4FF"/>
        </a:solidFill>
        <a:ln w="19050" cap="flat" cmpd="sng" algn="ctr">
          <a:solidFill>
            <a:srgbClr val="0070C0"/>
          </a:solidFill>
          <a:prstDash val="solid"/>
          <a:miter lim="800000"/>
        </a:ln>
        <a:effectLst/>
      </dgm:spPr>
      <dgm:t>
        <a:bodyPr spcFirstLastPara="0" vert="horz" wrap="square" lIns="57150" tIns="57150" rIns="57150" bIns="57150" numCol="1" spcCol="1270" anchor="ctr" anchorCtr="0"/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 dirty="0">
            <a:solidFill>
              <a:srgbClr val="5B9BD5">
                <a:lumMod val="50000"/>
              </a:srgbClr>
            </a:solidFill>
            <a:latin typeface="Verdana" panose="020B0604030504040204" pitchFamily="34" charset="0"/>
            <a:ea typeface="Verdana" panose="020B0604030504040204" pitchFamily="34" charset="0"/>
            <a:cs typeface="+mn-cs"/>
          </a:endParaRPr>
        </a:p>
      </dgm:t>
    </dgm:pt>
    <dgm:pt modelId="{9DF524E4-B7AE-45EA-B88B-73FE7AC5AB16}" type="sibTrans" cxnId="{E7B569C5-94A2-48BB-878A-DB61E10E7430}">
      <dgm:prSet/>
      <dgm:spPr/>
      <dgm:t>
        <a:bodyPr/>
        <a:lstStyle/>
        <a:p>
          <a:endParaRPr lang="en-US" sz="1400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F3A2F05C-FF45-4C6E-A7E3-C45976655192}" type="parTrans" cxnId="{E7B569C5-94A2-48BB-878A-DB61E10E7430}">
      <dgm:prSet/>
      <dgm:spPr/>
      <dgm:t>
        <a:bodyPr/>
        <a:lstStyle/>
        <a:p>
          <a:endParaRPr lang="en-US" sz="1400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C41F7428-B831-499D-B31B-DB9AAA34CDCD}">
      <dgm:prSet phldrT="[Text]" custT="1"/>
      <dgm:spPr>
        <a:solidFill>
          <a:srgbClr val="D5F4FF"/>
        </a:solidFill>
        <a:ln w="19050" cap="flat" cmpd="sng" algn="ctr">
          <a:solidFill>
            <a:srgbClr val="0070C0"/>
          </a:solidFill>
          <a:prstDash val="solid"/>
          <a:miter lim="800000"/>
        </a:ln>
        <a:effectLst/>
      </dgm:spPr>
      <dgm:t>
        <a:bodyPr spcFirstLastPara="0" vert="horz" wrap="square" lIns="57150" tIns="57150" rIns="57150" bIns="57150" numCol="1" spcCol="1270" anchor="ctr" anchorCtr="0"/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 dirty="0">
            <a:solidFill>
              <a:srgbClr val="5B9BD5">
                <a:lumMod val="50000"/>
              </a:srgbClr>
            </a:solidFill>
            <a:latin typeface="Verdana" panose="020B0604030504040204" pitchFamily="34" charset="0"/>
            <a:ea typeface="Verdana" panose="020B0604030504040204" pitchFamily="34" charset="0"/>
            <a:cs typeface="+mn-cs"/>
          </a:endParaRPr>
        </a:p>
      </dgm:t>
    </dgm:pt>
    <dgm:pt modelId="{0F6393D3-1C9F-4737-A813-24D50AE39780}" type="sibTrans" cxnId="{0FBF5611-CB31-467C-A9ED-ADD2A635F3BB}">
      <dgm:prSet/>
      <dgm:spPr/>
      <dgm:t>
        <a:bodyPr/>
        <a:lstStyle/>
        <a:p>
          <a:endParaRPr lang="en-US" sz="1400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2FEB09B1-26BA-428C-96D8-02FEF59DF992}" type="parTrans" cxnId="{0FBF5611-CB31-467C-A9ED-ADD2A635F3BB}">
      <dgm:prSet/>
      <dgm:spPr/>
      <dgm:t>
        <a:bodyPr/>
        <a:lstStyle/>
        <a:p>
          <a:endParaRPr lang="en-US" sz="1400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B63CCED1-8164-457D-B127-D6CF9281EAFE}">
      <dgm:prSet phldrT="[Text]" custT="1"/>
      <dgm:spPr>
        <a:solidFill>
          <a:srgbClr val="D5F4FF"/>
        </a:solidFill>
        <a:ln w="19050" cap="flat" cmpd="sng" algn="ctr">
          <a:solidFill>
            <a:srgbClr val="0070C0"/>
          </a:solidFill>
          <a:prstDash val="solid"/>
          <a:miter lim="800000"/>
        </a:ln>
        <a:effectLst/>
      </dgm:spPr>
      <dgm:t>
        <a:bodyPr spcFirstLastPara="0" vert="horz" wrap="square" lIns="57150" tIns="57150" rIns="57150" bIns="57150" numCol="1" spcCol="1270" anchor="ctr" anchorCtr="0"/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 dirty="0">
            <a:solidFill>
              <a:srgbClr val="5B9BD5">
                <a:lumMod val="50000"/>
              </a:srgbClr>
            </a:solidFill>
            <a:latin typeface="Verdana" panose="020B0604030504040204" pitchFamily="34" charset="0"/>
            <a:ea typeface="Verdana" panose="020B0604030504040204" pitchFamily="34" charset="0"/>
            <a:cs typeface="+mn-cs"/>
          </a:endParaRPr>
        </a:p>
      </dgm:t>
    </dgm:pt>
    <dgm:pt modelId="{91D3D1EA-85FC-4F17-98D6-7BDB1F7BDB9B}" type="sibTrans" cxnId="{EC3890B5-3BCE-4812-9A8C-9CA5768E7E9B}">
      <dgm:prSet/>
      <dgm:spPr/>
      <dgm:t>
        <a:bodyPr/>
        <a:lstStyle/>
        <a:p>
          <a:endParaRPr lang="en-US" sz="1400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820C0789-B61B-420E-88E6-D9D0D58B9F0B}" type="parTrans" cxnId="{EC3890B5-3BCE-4812-9A8C-9CA5768E7E9B}">
      <dgm:prSet/>
      <dgm:spPr/>
      <dgm:t>
        <a:bodyPr/>
        <a:lstStyle/>
        <a:p>
          <a:endParaRPr lang="en-US" sz="1400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5385599B-8AAE-4B31-B63C-CFCBA2A62BC6}" type="pres">
      <dgm:prSet presAssocID="{7307E4D1-6DE5-4901-8684-AA9B316E55E2}" presName="Name0" presStyleCnt="0">
        <dgm:presLayoutVars>
          <dgm:dir/>
          <dgm:animLvl val="lvl"/>
          <dgm:resizeHandles/>
        </dgm:presLayoutVars>
      </dgm:prSet>
      <dgm:spPr/>
    </dgm:pt>
    <dgm:pt modelId="{9D3F7334-99BC-4F0A-8CB4-AABA8CD9E0E0}" type="pres">
      <dgm:prSet presAssocID="{1653DDC3-C30A-44A9-B11C-AE5A7A4B6716}" presName="linNode" presStyleCnt="0"/>
      <dgm:spPr/>
    </dgm:pt>
    <dgm:pt modelId="{F98DE6D1-A676-4F24-8F9E-0895D213AEC6}" type="pres">
      <dgm:prSet presAssocID="{1653DDC3-C30A-44A9-B11C-AE5A7A4B6716}" presName="parentShp" presStyleLbl="node1" presStyleIdx="0" presStyleCnt="8" custScaleX="740918" custScaleY="85413">
        <dgm:presLayoutVars>
          <dgm:bulletEnabled val="1"/>
        </dgm:presLayoutVars>
      </dgm:prSet>
      <dgm:spPr>
        <a:xfrm>
          <a:off x="0" y="509"/>
          <a:ext cx="1702435" cy="642414"/>
        </a:xfrm>
        <a:prstGeom prst="roundRect">
          <a:avLst/>
        </a:prstGeom>
      </dgm:spPr>
    </dgm:pt>
    <dgm:pt modelId="{9B7BE5D1-FF81-453E-8E43-1296E6B0AB92}" type="pres">
      <dgm:prSet presAssocID="{1653DDC3-C30A-44A9-B11C-AE5A7A4B6716}" presName="childShp" presStyleLbl="bgAccFollowNode1" presStyleIdx="0" presStyleCnt="8">
        <dgm:presLayoutVars>
          <dgm:bulletEnabled val="1"/>
        </dgm:presLayoutVars>
      </dgm:prSet>
      <dgm:spPr>
        <a:xfrm>
          <a:off x="1702435" y="509"/>
          <a:ext cx="2553652" cy="642414"/>
        </a:xfrm>
        <a:prstGeom prst="rightArrow">
          <a:avLst>
            <a:gd name="adj1" fmla="val 75000"/>
            <a:gd name="adj2" fmla="val 50000"/>
          </a:avLst>
        </a:prstGeom>
        <a:solidFill>
          <a:srgbClr val="0070C0">
            <a:alpha val="90000"/>
          </a:srgbClr>
        </a:solidFill>
        <a:ln w="28575">
          <a:solidFill>
            <a:srgbClr val="00B0F0">
              <a:alpha val="90000"/>
            </a:srgbClr>
          </a:solidFill>
        </a:ln>
      </dgm:spPr>
    </dgm:pt>
    <dgm:pt modelId="{3DDCD5D1-EA02-4003-AE4C-9058CD75388B}" type="pres">
      <dgm:prSet presAssocID="{5AFDD7FA-A0B2-408E-894B-F024B8AE0CB3}" presName="spacing" presStyleCnt="0"/>
      <dgm:spPr/>
    </dgm:pt>
    <dgm:pt modelId="{E564DCF6-E8F0-4C62-B2FB-97C1DFCEC2A1}" type="pres">
      <dgm:prSet presAssocID="{B63CCED1-8164-457D-B127-D6CF9281EAFE}" presName="linNode" presStyleCnt="0"/>
      <dgm:spPr/>
    </dgm:pt>
    <dgm:pt modelId="{9A5ABA96-16C1-4309-9D0B-FC4529012D9D}" type="pres">
      <dgm:prSet presAssocID="{B63CCED1-8164-457D-B127-D6CF9281EAFE}" presName="parentShp" presStyleLbl="node1" presStyleIdx="1" presStyleCnt="8" custScaleX="708324">
        <dgm:presLayoutVars>
          <dgm:bulletEnabled val="1"/>
        </dgm:presLayoutVars>
      </dgm:prSet>
      <dgm:spPr>
        <a:xfrm>
          <a:off x="0" y="715959"/>
          <a:ext cx="1702435" cy="649210"/>
        </a:xfrm>
        <a:prstGeom prst="roundRect">
          <a:avLst/>
        </a:prstGeom>
      </dgm:spPr>
    </dgm:pt>
    <dgm:pt modelId="{F10F09BA-63EE-49D4-8583-D1D64B7DE6B0}" type="pres">
      <dgm:prSet presAssocID="{B63CCED1-8164-457D-B127-D6CF9281EAFE}" presName="childShp" presStyleLbl="bgAccFollowNode1" presStyleIdx="1" presStyleCnt="8">
        <dgm:presLayoutVars>
          <dgm:bulletEnabled val="1"/>
        </dgm:presLayoutVars>
      </dgm:prSet>
      <dgm:spPr>
        <a:xfrm>
          <a:off x="1702435" y="707165"/>
          <a:ext cx="2553652" cy="642414"/>
        </a:xfrm>
        <a:prstGeom prst="rightArrow">
          <a:avLst>
            <a:gd name="adj1" fmla="val 75000"/>
            <a:gd name="adj2" fmla="val 50000"/>
          </a:avLst>
        </a:prstGeom>
        <a:solidFill>
          <a:srgbClr val="0070C0">
            <a:alpha val="90000"/>
          </a:srgbClr>
        </a:solidFill>
        <a:ln w="28575">
          <a:solidFill>
            <a:srgbClr val="00B0F0">
              <a:alpha val="90000"/>
            </a:srgbClr>
          </a:solidFill>
        </a:ln>
      </dgm:spPr>
    </dgm:pt>
    <dgm:pt modelId="{97AF62F0-1B30-46C7-92E6-77D8BCDF1102}" type="pres">
      <dgm:prSet presAssocID="{91D3D1EA-85FC-4F17-98D6-7BDB1F7BDB9B}" presName="spacing" presStyleCnt="0"/>
      <dgm:spPr/>
    </dgm:pt>
    <dgm:pt modelId="{A706A750-BB6C-4FA0-8D61-13389FEFA5B5}" type="pres">
      <dgm:prSet presAssocID="{C41F7428-B831-499D-B31B-DB9AAA34CDCD}" presName="linNode" presStyleCnt="0"/>
      <dgm:spPr/>
    </dgm:pt>
    <dgm:pt modelId="{57D10114-EAFA-4CAD-A1BA-604268447782}" type="pres">
      <dgm:prSet presAssocID="{C41F7428-B831-499D-B31B-DB9AAA34CDCD}" presName="parentShp" presStyleLbl="node1" presStyleIdx="2" presStyleCnt="8" custScaleX="656949">
        <dgm:presLayoutVars>
          <dgm:bulletEnabled val="1"/>
        </dgm:presLayoutVars>
      </dgm:prSet>
      <dgm:spPr>
        <a:xfrm>
          <a:off x="0" y="1413821"/>
          <a:ext cx="1702435" cy="642414"/>
        </a:xfrm>
        <a:prstGeom prst="roundRect">
          <a:avLst/>
        </a:prstGeom>
      </dgm:spPr>
    </dgm:pt>
    <dgm:pt modelId="{C7F6A13B-6E07-43FC-B294-B3A49875C593}" type="pres">
      <dgm:prSet presAssocID="{C41F7428-B831-499D-B31B-DB9AAA34CDCD}" presName="childShp" presStyleLbl="bgAccFollowNode1" presStyleIdx="2" presStyleCnt="8">
        <dgm:presLayoutVars>
          <dgm:bulletEnabled val="1"/>
        </dgm:presLayoutVars>
      </dgm:prSet>
      <dgm:spPr>
        <a:xfrm>
          <a:off x="1702435" y="1413821"/>
          <a:ext cx="2553652" cy="642414"/>
        </a:xfrm>
        <a:prstGeom prst="rightArrow">
          <a:avLst>
            <a:gd name="adj1" fmla="val 75000"/>
            <a:gd name="adj2" fmla="val 50000"/>
          </a:avLst>
        </a:prstGeom>
        <a:solidFill>
          <a:srgbClr val="0070C0"/>
        </a:solidFill>
        <a:ln w="28575" cap="flat" cmpd="sng" algn="ctr">
          <a:solidFill>
            <a:srgbClr val="00B0F0"/>
          </a:solidFill>
          <a:prstDash val="solid"/>
          <a:miter lim="800000"/>
        </a:ln>
        <a:effectLst/>
      </dgm:spPr>
    </dgm:pt>
    <dgm:pt modelId="{9B3D9D02-6266-4DD8-969D-6AC54790ADE2}" type="pres">
      <dgm:prSet presAssocID="{0F6393D3-1C9F-4737-A813-24D50AE39780}" presName="spacing" presStyleCnt="0"/>
      <dgm:spPr/>
    </dgm:pt>
    <dgm:pt modelId="{353A7DD9-3B3D-42F8-81DA-3A81D8D60606}" type="pres">
      <dgm:prSet presAssocID="{9ABE39FA-0A1C-402D-B808-BC340BB1D354}" presName="linNode" presStyleCnt="0"/>
      <dgm:spPr/>
    </dgm:pt>
    <dgm:pt modelId="{1E02108A-BC5C-4A71-A11B-CE732CEB7EC4}" type="pres">
      <dgm:prSet presAssocID="{9ABE39FA-0A1C-402D-B808-BC340BB1D354}" presName="parentShp" presStyleLbl="node1" presStyleIdx="3" presStyleCnt="8" custScaleX="637280">
        <dgm:presLayoutVars>
          <dgm:bulletEnabled val="1"/>
        </dgm:presLayoutVars>
      </dgm:prSet>
      <dgm:spPr>
        <a:xfrm>
          <a:off x="0" y="2120477"/>
          <a:ext cx="1702435" cy="642414"/>
        </a:xfrm>
        <a:prstGeom prst="roundRect">
          <a:avLst/>
        </a:prstGeom>
      </dgm:spPr>
    </dgm:pt>
    <dgm:pt modelId="{46D57D0A-FC3F-4692-86D4-37391298CFEC}" type="pres">
      <dgm:prSet presAssocID="{9ABE39FA-0A1C-402D-B808-BC340BB1D354}" presName="childShp" presStyleLbl="bgAccFollowNode1" presStyleIdx="3" presStyleCnt="8">
        <dgm:presLayoutVars>
          <dgm:bulletEnabled val="1"/>
        </dgm:presLayoutVars>
      </dgm:prSet>
      <dgm:spPr>
        <a:xfrm>
          <a:off x="1702435" y="2120477"/>
          <a:ext cx="2553652" cy="642414"/>
        </a:xfrm>
        <a:prstGeom prst="rightArrow">
          <a:avLst>
            <a:gd name="adj1" fmla="val 75000"/>
            <a:gd name="adj2" fmla="val 50000"/>
          </a:avLst>
        </a:prstGeom>
        <a:solidFill>
          <a:srgbClr val="0070C0"/>
        </a:solidFill>
        <a:ln w="28575" cap="flat" cmpd="sng" algn="ctr">
          <a:solidFill>
            <a:srgbClr val="00B0F0"/>
          </a:solidFill>
          <a:prstDash val="solid"/>
          <a:miter lim="800000"/>
        </a:ln>
        <a:effectLst/>
      </dgm:spPr>
    </dgm:pt>
    <dgm:pt modelId="{F36B5C65-C304-4F3E-8DF8-C42C90AE1255}" type="pres">
      <dgm:prSet presAssocID="{9DF524E4-B7AE-45EA-B88B-73FE7AC5AB16}" presName="spacing" presStyleCnt="0"/>
      <dgm:spPr/>
    </dgm:pt>
    <dgm:pt modelId="{51ADD7E5-5A04-4F95-A6DD-F2832C1A5B66}" type="pres">
      <dgm:prSet presAssocID="{08DC15D0-A056-40FA-B262-DC58190AE5B2}" presName="linNode" presStyleCnt="0"/>
      <dgm:spPr/>
    </dgm:pt>
    <dgm:pt modelId="{5AB59920-FA1F-4568-98FC-4D079DD5B12D}" type="pres">
      <dgm:prSet presAssocID="{08DC15D0-A056-40FA-B262-DC58190AE5B2}" presName="parentShp" presStyleLbl="node1" presStyleIdx="4" presStyleCnt="8" custScaleX="589616">
        <dgm:presLayoutVars>
          <dgm:bulletEnabled val="1"/>
        </dgm:presLayoutVars>
      </dgm:prSet>
      <dgm:spPr>
        <a:xfrm>
          <a:off x="0" y="2827133"/>
          <a:ext cx="1702435" cy="642414"/>
        </a:xfrm>
        <a:prstGeom prst="roundRect">
          <a:avLst/>
        </a:prstGeom>
      </dgm:spPr>
    </dgm:pt>
    <dgm:pt modelId="{9D22B3BB-A1E6-49B5-87BE-1A7F8ABCCDBD}" type="pres">
      <dgm:prSet presAssocID="{08DC15D0-A056-40FA-B262-DC58190AE5B2}" presName="childShp" presStyleLbl="bgAccFollowNode1" presStyleIdx="4" presStyleCnt="8">
        <dgm:presLayoutVars>
          <dgm:bulletEnabled val="1"/>
        </dgm:presLayoutVars>
      </dgm:prSet>
      <dgm:spPr>
        <a:xfrm>
          <a:off x="1702435" y="2827133"/>
          <a:ext cx="2553652" cy="642414"/>
        </a:xfrm>
        <a:prstGeom prst="rightArrow">
          <a:avLst>
            <a:gd name="adj1" fmla="val 75000"/>
            <a:gd name="adj2" fmla="val 50000"/>
          </a:avLst>
        </a:prstGeom>
        <a:solidFill>
          <a:srgbClr val="0070C0"/>
        </a:solidFill>
        <a:ln w="28575" cap="flat" cmpd="sng" algn="ctr">
          <a:solidFill>
            <a:srgbClr val="00B0F0"/>
          </a:solidFill>
          <a:prstDash val="solid"/>
          <a:miter lim="800000"/>
        </a:ln>
        <a:effectLst/>
      </dgm:spPr>
    </dgm:pt>
    <dgm:pt modelId="{94374534-12D5-40AD-8FB2-2FC4AC1F6565}" type="pres">
      <dgm:prSet presAssocID="{D1D95434-BE91-4547-A6EC-84B50F7822DF}" presName="spacing" presStyleCnt="0"/>
      <dgm:spPr/>
    </dgm:pt>
    <dgm:pt modelId="{BDCA29E9-960B-4AF1-BCB5-24B385E10194}" type="pres">
      <dgm:prSet presAssocID="{C17B5C28-B867-44CA-9F83-BA4E8FF42771}" presName="linNode" presStyleCnt="0"/>
      <dgm:spPr/>
    </dgm:pt>
    <dgm:pt modelId="{2F832CD8-0F67-4587-8830-DBE13C1D1568}" type="pres">
      <dgm:prSet presAssocID="{C17B5C28-B867-44CA-9F83-BA4E8FF42771}" presName="parentShp" presStyleLbl="node1" presStyleIdx="5" presStyleCnt="8" custScaleX="603834">
        <dgm:presLayoutVars>
          <dgm:bulletEnabled val="1"/>
        </dgm:presLayoutVars>
      </dgm:prSet>
      <dgm:spPr>
        <a:xfrm>
          <a:off x="0" y="3533788"/>
          <a:ext cx="1702435" cy="642414"/>
        </a:xfrm>
        <a:prstGeom prst="roundRect">
          <a:avLst/>
        </a:prstGeom>
      </dgm:spPr>
    </dgm:pt>
    <dgm:pt modelId="{9E927A6B-25D1-410A-86CD-77ABBB58FF20}" type="pres">
      <dgm:prSet presAssocID="{C17B5C28-B867-44CA-9F83-BA4E8FF42771}" presName="childShp" presStyleLbl="bgAccFollowNode1" presStyleIdx="5" presStyleCnt="8">
        <dgm:presLayoutVars>
          <dgm:bulletEnabled val="1"/>
        </dgm:presLayoutVars>
      </dgm:prSet>
      <dgm:spPr>
        <a:xfrm>
          <a:off x="1702435" y="3533788"/>
          <a:ext cx="2553652" cy="642414"/>
        </a:xfrm>
        <a:prstGeom prst="rightArrow">
          <a:avLst>
            <a:gd name="adj1" fmla="val 75000"/>
            <a:gd name="adj2" fmla="val 50000"/>
          </a:avLst>
        </a:prstGeom>
        <a:solidFill>
          <a:srgbClr val="0070C0"/>
        </a:solidFill>
        <a:ln w="28575" cap="flat" cmpd="sng" algn="ctr">
          <a:solidFill>
            <a:srgbClr val="00B0F0"/>
          </a:solidFill>
          <a:prstDash val="solid"/>
          <a:miter lim="800000"/>
        </a:ln>
        <a:effectLst/>
      </dgm:spPr>
    </dgm:pt>
    <dgm:pt modelId="{F1583BE7-47D1-4C9D-895D-FB49B77FC9F5}" type="pres">
      <dgm:prSet presAssocID="{7166D6BD-D52E-4E98-A191-71A438949343}" presName="spacing" presStyleCnt="0"/>
      <dgm:spPr/>
    </dgm:pt>
    <dgm:pt modelId="{1C4E9613-B408-4493-81BA-DFF6247013C6}" type="pres">
      <dgm:prSet presAssocID="{54D6D2D4-29A4-4461-9665-177842896EBF}" presName="linNode" presStyleCnt="0"/>
      <dgm:spPr/>
    </dgm:pt>
    <dgm:pt modelId="{7ECF98D0-1E11-4C07-8F10-4DCFF4287081}" type="pres">
      <dgm:prSet presAssocID="{54D6D2D4-29A4-4461-9665-177842896EBF}" presName="parentShp" presStyleLbl="node1" presStyleIdx="6" presStyleCnt="8" custScaleX="612316">
        <dgm:presLayoutVars>
          <dgm:bulletEnabled val="1"/>
        </dgm:presLayoutVars>
      </dgm:prSet>
      <dgm:spPr/>
    </dgm:pt>
    <dgm:pt modelId="{0B04CA0F-CECF-4155-8C51-3EE166242C63}" type="pres">
      <dgm:prSet presAssocID="{54D6D2D4-29A4-4461-9665-177842896EBF}" presName="childShp" presStyleLbl="bgAccFollowNode1" presStyleIdx="6" presStyleCnt="8">
        <dgm:presLayoutVars>
          <dgm:bulletEnabled val="1"/>
        </dgm:presLayoutVars>
      </dgm:prSet>
      <dgm:spPr>
        <a:solidFill>
          <a:srgbClr val="0070C0"/>
        </a:solidFill>
        <a:ln>
          <a:solidFill>
            <a:srgbClr val="00B0F0"/>
          </a:solidFill>
        </a:ln>
      </dgm:spPr>
    </dgm:pt>
    <dgm:pt modelId="{3E12F438-3FF7-4E5B-B94D-BAA7DEC4639B}" type="pres">
      <dgm:prSet presAssocID="{EED72A1A-17B5-4172-ACE5-D56E73E3E1C2}" presName="spacing" presStyleCnt="0"/>
      <dgm:spPr/>
    </dgm:pt>
    <dgm:pt modelId="{1BBC461E-35F6-4123-9C7E-2E1976640A4C}" type="pres">
      <dgm:prSet presAssocID="{FD020297-9410-4CCE-8FB6-5B11085B25DD}" presName="linNode" presStyleCnt="0"/>
      <dgm:spPr/>
    </dgm:pt>
    <dgm:pt modelId="{9E5D63AA-DFE5-4C55-BA33-B74BA9097F51}" type="pres">
      <dgm:prSet presAssocID="{FD020297-9410-4CCE-8FB6-5B11085B25DD}" presName="parentShp" presStyleLbl="node1" presStyleIdx="7" presStyleCnt="8" custScaleX="593048">
        <dgm:presLayoutVars>
          <dgm:bulletEnabled val="1"/>
        </dgm:presLayoutVars>
      </dgm:prSet>
      <dgm:spPr/>
    </dgm:pt>
    <dgm:pt modelId="{573823A5-9727-4D53-B347-2BE301AEC629}" type="pres">
      <dgm:prSet presAssocID="{FD020297-9410-4CCE-8FB6-5B11085B25DD}" presName="childShp" presStyleLbl="bgAccFollowNode1" presStyleIdx="7" presStyleCnt="8">
        <dgm:presLayoutVars>
          <dgm:bulletEnabled val="1"/>
        </dgm:presLayoutVars>
      </dgm:prSet>
      <dgm:spPr>
        <a:solidFill>
          <a:srgbClr val="0070C0"/>
        </a:solidFill>
        <a:ln w="28575">
          <a:solidFill>
            <a:srgbClr val="00B0F0">
              <a:alpha val="90000"/>
            </a:srgbClr>
          </a:solidFill>
        </a:ln>
      </dgm:spPr>
    </dgm:pt>
  </dgm:ptLst>
  <dgm:cxnLst>
    <dgm:cxn modelId="{DDA4670E-C69E-4F31-B275-A8752876BC1D}" type="presOf" srcId="{54D6D2D4-29A4-4461-9665-177842896EBF}" destId="{7ECF98D0-1E11-4C07-8F10-4DCFF4287081}" srcOrd="0" destOrd="0" presId="urn:microsoft.com/office/officeart/2005/8/layout/vList6"/>
    <dgm:cxn modelId="{0FBF5611-CB31-467C-A9ED-ADD2A635F3BB}" srcId="{7307E4D1-6DE5-4901-8684-AA9B316E55E2}" destId="{C41F7428-B831-499D-B31B-DB9AAA34CDCD}" srcOrd="2" destOrd="0" parTransId="{2FEB09B1-26BA-428C-96D8-02FEF59DF992}" sibTransId="{0F6393D3-1C9F-4737-A813-24D50AE39780}"/>
    <dgm:cxn modelId="{1A403F2E-1244-46F0-A6C6-C31641A83A70}" type="presOf" srcId="{C17B5C28-B867-44CA-9F83-BA4E8FF42771}" destId="{2F832CD8-0F67-4587-8830-DBE13C1D1568}" srcOrd="0" destOrd="0" presId="urn:microsoft.com/office/officeart/2005/8/layout/vList6"/>
    <dgm:cxn modelId="{E0570264-100D-457B-AD60-D04B8917F079}" srcId="{7307E4D1-6DE5-4901-8684-AA9B316E55E2}" destId="{1653DDC3-C30A-44A9-B11C-AE5A7A4B6716}" srcOrd="0" destOrd="0" parTransId="{54AB22B2-02E3-4BD9-8C8A-C6E4E5BFC694}" sibTransId="{5AFDD7FA-A0B2-408E-894B-F024B8AE0CB3}"/>
    <dgm:cxn modelId="{A8FAB968-D6F3-4F0E-ACDB-B23BD0B35FCC}" type="presOf" srcId="{1653DDC3-C30A-44A9-B11C-AE5A7A4B6716}" destId="{F98DE6D1-A676-4F24-8F9E-0895D213AEC6}" srcOrd="0" destOrd="0" presId="urn:microsoft.com/office/officeart/2005/8/layout/vList6"/>
    <dgm:cxn modelId="{ECB1AE6D-7528-4E5E-989C-5CA5FCFE8A8C}" srcId="{7307E4D1-6DE5-4901-8684-AA9B316E55E2}" destId="{C17B5C28-B867-44CA-9F83-BA4E8FF42771}" srcOrd="5" destOrd="0" parTransId="{755B8405-7429-4C55-8A52-8F08ADE8BDB1}" sibTransId="{7166D6BD-D52E-4E98-A191-71A438949343}"/>
    <dgm:cxn modelId="{029CD375-5380-4275-B522-93BC9BF64286}" type="presOf" srcId="{08DC15D0-A056-40FA-B262-DC58190AE5B2}" destId="{5AB59920-FA1F-4568-98FC-4D079DD5B12D}" srcOrd="0" destOrd="0" presId="urn:microsoft.com/office/officeart/2005/8/layout/vList6"/>
    <dgm:cxn modelId="{CD5E117A-CE50-4969-9CCC-DC88F8347F5F}" srcId="{7307E4D1-6DE5-4901-8684-AA9B316E55E2}" destId="{54D6D2D4-29A4-4461-9665-177842896EBF}" srcOrd="6" destOrd="0" parTransId="{96BC125E-AF95-4FF9-8068-123AEE1ECF0F}" sibTransId="{EED72A1A-17B5-4172-ACE5-D56E73E3E1C2}"/>
    <dgm:cxn modelId="{EBBA4D94-78FE-46A7-BC7A-9F0E891614C6}" srcId="{7307E4D1-6DE5-4901-8684-AA9B316E55E2}" destId="{FD020297-9410-4CCE-8FB6-5B11085B25DD}" srcOrd="7" destOrd="0" parTransId="{11524C14-9D47-4284-B1A0-CC8B8FF9BE94}" sibTransId="{571AB687-FDFD-4A82-93CC-E1BCB8B3FD9D}"/>
    <dgm:cxn modelId="{596B4697-4243-4959-B12C-76421916FB82}" type="presOf" srcId="{9ABE39FA-0A1C-402D-B808-BC340BB1D354}" destId="{1E02108A-BC5C-4A71-A11B-CE732CEB7EC4}" srcOrd="0" destOrd="0" presId="urn:microsoft.com/office/officeart/2005/8/layout/vList6"/>
    <dgm:cxn modelId="{AA084CA0-CC1D-4EE6-905D-E9DB23E75F99}" type="presOf" srcId="{C41F7428-B831-499D-B31B-DB9AAA34CDCD}" destId="{57D10114-EAFA-4CAD-A1BA-604268447782}" srcOrd="0" destOrd="0" presId="urn:microsoft.com/office/officeart/2005/8/layout/vList6"/>
    <dgm:cxn modelId="{EC3890B5-3BCE-4812-9A8C-9CA5768E7E9B}" srcId="{7307E4D1-6DE5-4901-8684-AA9B316E55E2}" destId="{B63CCED1-8164-457D-B127-D6CF9281EAFE}" srcOrd="1" destOrd="0" parTransId="{820C0789-B61B-420E-88E6-D9D0D58B9F0B}" sibTransId="{91D3D1EA-85FC-4F17-98D6-7BDB1F7BDB9B}"/>
    <dgm:cxn modelId="{D57D96BB-BE67-4822-A38C-1F985E87741B}" type="presOf" srcId="{7307E4D1-6DE5-4901-8684-AA9B316E55E2}" destId="{5385599B-8AAE-4B31-B63C-CFCBA2A62BC6}" srcOrd="0" destOrd="0" presId="urn:microsoft.com/office/officeart/2005/8/layout/vList6"/>
    <dgm:cxn modelId="{15EAA9BB-5532-48E5-B5B2-4E2510CFDAFE}" srcId="{7307E4D1-6DE5-4901-8684-AA9B316E55E2}" destId="{08DC15D0-A056-40FA-B262-DC58190AE5B2}" srcOrd="4" destOrd="0" parTransId="{72D47F3B-A447-4AC6-95B9-7148EFF820E4}" sibTransId="{D1D95434-BE91-4547-A6EC-84B50F7822DF}"/>
    <dgm:cxn modelId="{E7B569C5-94A2-48BB-878A-DB61E10E7430}" srcId="{7307E4D1-6DE5-4901-8684-AA9B316E55E2}" destId="{9ABE39FA-0A1C-402D-B808-BC340BB1D354}" srcOrd="3" destOrd="0" parTransId="{F3A2F05C-FF45-4C6E-A7E3-C45976655192}" sibTransId="{9DF524E4-B7AE-45EA-B88B-73FE7AC5AB16}"/>
    <dgm:cxn modelId="{22ED79CC-014F-4748-9CF6-1DFD062CF77E}" type="presOf" srcId="{B63CCED1-8164-457D-B127-D6CF9281EAFE}" destId="{9A5ABA96-16C1-4309-9D0B-FC4529012D9D}" srcOrd="0" destOrd="0" presId="urn:microsoft.com/office/officeart/2005/8/layout/vList6"/>
    <dgm:cxn modelId="{DE83F9F0-8D4E-4E88-B62A-88DF663B25BA}" type="presOf" srcId="{FD020297-9410-4CCE-8FB6-5B11085B25DD}" destId="{9E5D63AA-DFE5-4C55-BA33-B74BA9097F51}" srcOrd="0" destOrd="0" presId="urn:microsoft.com/office/officeart/2005/8/layout/vList6"/>
    <dgm:cxn modelId="{9D5CC17D-09DF-4CA5-8B61-2379388A3C71}" type="presParOf" srcId="{5385599B-8AAE-4B31-B63C-CFCBA2A62BC6}" destId="{9D3F7334-99BC-4F0A-8CB4-AABA8CD9E0E0}" srcOrd="0" destOrd="0" presId="urn:microsoft.com/office/officeart/2005/8/layout/vList6"/>
    <dgm:cxn modelId="{68BBA763-BC64-4CAB-85EE-741CCB982D73}" type="presParOf" srcId="{9D3F7334-99BC-4F0A-8CB4-AABA8CD9E0E0}" destId="{F98DE6D1-A676-4F24-8F9E-0895D213AEC6}" srcOrd="0" destOrd="0" presId="urn:microsoft.com/office/officeart/2005/8/layout/vList6"/>
    <dgm:cxn modelId="{4E0D81A5-7B5A-4A72-83E0-93B10431B492}" type="presParOf" srcId="{9D3F7334-99BC-4F0A-8CB4-AABA8CD9E0E0}" destId="{9B7BE5D1-FF81-453E-8E43-1296E6B0AB92}" srcOrd="1" destOrd="0" presId="urn:microsoft.com/office/officeart/2005/8/layout/vList6"/>
    <dgm:cxn modelId="{CDDE43B7-2A83-48E5-A6BA-EE42953AE0D3}" type="presParOf" srcId="{5385599B-8AAE-4B31-B63C-CFCBA2A62BC6}" destId="{3DDCD5D1-EA02-4003-AE4C-9058CD75388B}" srcOrd="1" destOrd="0" presId="urn:microsoft.com/office/officeart/2005/8/layout/vList6"/>
    <dgm:cxn modelId="{B1B7D4FB-A36D-4845-A4E9-DD6E63C0061A}" type="presParOf" srcId="{5385599B-8AAE-4B31-B63C-CFCBA2A62BC6}" destId="{E564DCF6-E8F0-4C62-B2FB-97C1DFCEC2A1}" srcOrd="2" destOrd="0" presId="urn:microsoft.com/office/officeart/2005/8/layout/vList6"/>
    <dgm:cxn modelId="{D5D0B26A-2B19-4794-8323-FB404238B806}" type="presParOf" srcId="{E564DCF6-E8F0-4C62-B2FB-97C1DFCEC2A1}" destId="{9A5ABA96-16C1-4309-9D0B-FC4529012D9D}" srcOrd="0" destOrd="0" presId="urn:microsoft.com/office/officeart/2005/8/layout/vList6"/>
    <dgm:cxn modelId="{CBD6101B-4ECA-4E07-808C-D81DF7492D3D}" type="presParOf" srcId="{E564DCF6-E8F0-4C62-B2FB-97C1DFCEC2A1}" destId="{F10F09BA-63EE-49D4-8583-D1D64B7DE6B0}" srcOrd="1" destOrd="0" presId="urn:microsoft.com/office/officeart/2005/8/layout/vList6"/>
    <dgm:cxn modelId="{4CC1FB75-DA8C-4007-96B6-58009C3CFBBC}" type="presParOf" srcId="{5385599B-8AAE-4B31-B63C-CFCBA2A62BC6}" destId="{97AF62F0-1B30-46C7-92E6-77D8BCDF1102}" srcOrd="3" destOrd="0" presId="urn:microsoft.com/office/officeart/2005/8/layout/vList6"/>
    <dgm:cxn modelId="{00147DF7-EAF2-494A-BCD7-4163327BB035}" type="presParOf" srcId="{5385599B-8AAE-4B31-B63C-CFCBA2A62BC6}" destId="{A706A750-BB6C-4FA0-8D61-13389FEFA5B5}" srcOrd="4" destOrd="0" presId="urn:microsoft.com/office/officeart/2005/8/layout/vList6"/>
    <dgm:cxn modelId="{36CFC89C-AB5F-4AC3-AE9E-90B81B266AF6}" type="presParOf" srcId="{A706A750-BB6C-4FA0-8D61-13389FEFA5B5}" destId="{57D10114-EAFA-4CAD-A1BA-604268447782}" srcOrd="0" destOrd="0" presId="urn:microsoft.com/office/officeart/2005/8/layout/vList6"/>
    <dgm:cxn modelId="{29D6EC08-DB0B-4BBE-88BF-2526493866B2}" type="presParOf" srcId="{A706A750-BB6C-4FA0-8D61-13389FEFA5B5}" destId="{C7F6A13B-6E07-43FC-B294-B3A49875C593}" srcOrd="1" destOrd="0" presId="urn:microsoft.com/office/officeart/2005/8/layout/vList6"/>
    <dgm:cxn modelId="{6DF3959D-D731-4DC0-8506-B46823D5539A}" type="presParOf" srcId="{5385599B-8AAE-4B31-B63C-CFCBA2A62BC6}" destId="{9B3D9D02-6266-4DD8-969D-6AC54790ADE2}" srcOrd="5" destOrd="0" presId="urn:microsoft.com/office/officeart/2005/8/layout/vList6"/>
    <dgm:cxn modelId="{8B79F8D3-D7B2-4475-BEE6-9A02A6263FF1}" type="presParOf" srcId="{5385599B-8AAE-4B31-B63C-CFCBA2A62BC6}" destId="{353A7DD9-3B3D-42F8-81DA-3A81D8D60606}" srcOrd="6" destOrd="0" presId="urn:microsoft.com/office/officeart/2005/8/layout/vList6"/>
    <dgm:cxn modelId="{3198269B-B96C-4198-8CEE-1BB9AE40E3FD}" type="presParOf" srcId="{353A7DD9-3B3D-42F8-81DA-3A81D8D60606}" destId="{1E02108A-BC5C-4A71-A11B-CE732CEB7EC4}" srcOrd="0" destOrd="0" presId="urn:microsoft.com/office/officeart/2005/8/layout/vList6"/>
    <dgm:cxn modelId="{3F588534-ED97-474C-A231-83AD4D808DAE}" type="presParOf" srcId="{353A7DD9-3B3D-42F8-81DA-3A81D8D60606}" destId="{46D57D0A-FC3F-4692-86D4-37391298CFEC}" srcOrd="1" destOrd="0" presId="urn:microsoft.com/office/officeart/2005/8/layout/vList6"/>
    <dgm:cxn modelId="{FC7A1BEC-D211-4A8A-80BD-98D8DBD4046A}" type="presParOf" srcId="{5385599B-8AAE-4B31-B63C-CFCBA2A62BC6}" destId="{F36B5C65-C304-4F3E-8DF8-C42C90AE1255}" srcOrd="7" destOrd="0" presId="urn:microsoft.com/office/officeart/2005/8/layout/vList6"/>
    <dgm:cxn modelId="{04A76F83-9F11-4C35-B8BC-03FD64D9F4E6}" type="presParOf" srcId="{5385599B-8AAE-4B31-B63C-CFCBA2A62BC6}" destId="{51ADD7E5-5A04-4F95-A6DD-F2832C1A5B66}" srcOrd="8" destOrd="0" presId="urn:microsoft.com/office/officeart/2005/8/layout/vList6"/>
    <dgm:cxn modelId="{8EDDFBAC-E141-49F6-AA85-24C59012AB01}" type="presParOf" srcId="{51ADD7E5-5A04-4F95-A6DD-F2832C1A5B66}" destId="{5AB59920-FA1F-4568-98FC-4D079DD5B12D}" srcOrd="0" destOrd="0" presId="urn:microsoft.com/office/officeart/2005/8/layout/vList6"/>
    <dgm:cxn modelId="{0FDD913A-A7A7-4A48-AFF3-14F2B8FBB271}" type="presParOf" srcId="{51ADD7E5-5A04-4F95-A6DD-F2832C1A5B66}" destId="{9D22B3BB-A1E6-49B5-87BE-1A7F8ABCCDBD}" srcOrd="1" destOrd="0" presId="urn:microsoft.com/office/officeart/2005/8/layout/vList6"/>
    <dgm:cxn modelId="{10257630-A29B-4BC5-A409-AD2369F1D630}" type="presParOf" srcId="{5385599B-8AAE-4B31-B63C-CFCBA2A62BC6}" destId="{94374534-12D5-40AD-8FB2-2FC4AC1F6565}" srcOrd="9" destOrd="0" presId="urn:microsoft.com/office/officeart/2005/8/layout/vList6"/>
    <dgm:cxn modelId="{5E5C9F57-214F-4A23-A777-50DB930AC27F}" type="presParOf" srcId="{5385599B-8AAE-4B31-B63C-CFCBA2A62BC6}" destId="{BDCA29E9-960B-4AF1-BCB5-24B385E10194}" srcOrd="10" destOrd="0" presId="urn:microsoft.com/office/officeart/2005/8/layout/vList6"/>
    <dgm:cxn modelId="{8CAABE89-0AE6-4355-9386-74729786FD29}" type="presParOf" srcId="{BDCA29E9-960B-4AF1-BCB5-24B385E10194}" destId="{2F832CD8-0F67-4587-8830-DBE13C1D1568}" srcOrd="0" destOrd="0" presId="urn:microsoft.com/office/officeart/2005/8/layout/vList6"/>
    <dgm:cxn modelId="{BDB3CBCE-AB06-4858-B255-487277772208}" type="presParOf" srcId="{BDCA29E9-960B-4AF1-BCB5-24B385E10194}" destId="{9E927A6B-25D1-410A-86CD-77ABBB58FF20}" srcOrd="1" destOrd="0" presId="urn:microsoft.com/office/officeart/2005/8/layout/vList6"/>
    <dgm:cxn modelId="{DC005DD9-9D5C-4CE4-9A21-A5B4C8AA9EB3}" type="presParOf" srcId="{5385599B-8AAE-4B31-B63C-CFCBA2A62BC6}" destId="{F1583BE7-47D1-4C9D-895D-FB49B77FC9F5}" srcOrd="11" destOrd="0" presId="urn:microsoft.com/office/officeart/2005/8/layout/vList6"/>
    <dgm:cxn modelId="{FD7FAC39-0590-47CB-A98E-AE029E49D985}" type="presParOf" srcId="{5385599B-8AAE-4B31-B63C-CFCBA2A62BC6}" destId="{1C4E9613-B408-4493-81BA-DFF6247013C6}" srcOrd="12" destOrd="0" presId="urn:microsoft.com/office/officeart/2005/8/layout/vList6"/>
    <dgm:cxn modelId="{3BBD702E-16BD-4824-AE76-CE0A3499C312}" type="presParOf" srcId="{1C4E9613-B408-4493-81BA-DFF6247013C6}" destId="{7ECF98D0-1E11-4C07-8F10-4DCFF4287081}" srcOrd="0" destOrd="0" presId="urn:microsoft.com/office/officeart/2005/8/layout/vList6"/>
    <dgm:cxn modelId="{06A997FE-6CE3-4C9E-B093-F076C0894A23}" type="presParOf" srcId="{1C4E9613-B408-4493-81BA-DFF6247013C6}" destId="{0B04CA0F-CECF-4155-8C51-3EE166242C63}" srcOrd="1" destOrd="0" presId="urn:microsoft.com/office/officeart/2005/8/layout/vList6"/>
    <dgm:cxn modelId="{F93D7DC6-D77D-47C4-812E-3F5F45EFCDC5}" type="presParOf" srcId="{5385599B-8AAE-4B31-B63C-CFCBA2A62BC6}" destId="{3E12F438-3FF7-4E5B-B94D-BAA7DEC4639B}" srcOrd="13" destOrd="0" presId="urn:microsoft.com/office/officeart/2005/8/layout/vList6"/>
    <dgm:cxn modelId="{60DB6A97-8818-4606-A5B4-4B46E72E5E77}" type="presParOf" srcId="{5385599B-8AAE-4B31-B63C-CFCBA2A62BC6}" destId="{1BBC461E-35F6-4123-9C7E-2E1976640A4C}" srcOrd="14" destOrd="0" presId="urn:microsoft.com/office/officeart/2005/8/layout/vList6"/>
    <dgm:cxn modelId="{FF4C4F5E-A9AC-4A7B-A17C-F1B54B21867C}" type="presParOf" srcId="{1BBC461E-35F6-4123-9C7E-2E1976640A4C}" destId="{9E5D63AA-DFE5-4C55-BA33-B74BA9097F51}" srcOrd="0" destOrd="0" presId="urn:microsoft.com/office/officeart/2005/8/layout/vList6"/>
    <dgm:cxn modelId="{1D004C22-0EE8-485A-A217-02E70C221044}" type="presParOf" srcId="{1BBC461E-35F6-4123-9C7E-2E1976640A4C}" destId="{573823A5-9727-4D53-B347-2BE301AEC629}" srcOrd="1" destOrd="0" presId="urn:microsoft.com/office/officeart/2005/8/layout/vList6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7307E4D1-6DE5-4901-8684-AA9B316E55E2}" type="doc">
      <dgm:prSet loTypeId="urn:microsoft.com/office/officeart/2005/8/layout/vList6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1653DDC3-C30A-44A9-B11C-AE5A7A4B6716}">
      <dgm:prSet phldrT="[Text]" custT="1"/>
      <dgm:spPr>
        <a:solidFill>
          <a:srgbClr val="D5F4FF"/>
        </a:solidFill>
        <a:ln w="19050" cap="flat" cmpd="sng" algn="ctr">
          <a:solidFill>
            <a:srgbClr val="0070C0"/>
          </a:solidFill>
          <a:prstDash val="solid"/>
          <a:miter lim="800000"/>
        </a:ln>
        <a:effectLst/>
      </dgm:spPr>
      <dgm:t>
        <a:bodyPr spcFirstLastPara="0" vert="horz" wrap="square" lIns="57150" tIns="57150" rIns="57150" bIns="57150" numCol="1" spcCol="1270" anchor="ctr" anchorCtr="0"/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 dirty="0">
            <a:solidFill>
              <a:srgbClr val="5B9BD5">
                <a:lumMod val="50000"/>
              </a:srgbClr>
            </a:solidFill>
            <a:latin typeface="Verdana" panose="020B0604030504040204" pitchFamily="34" charset="0"/>
            <a:ea typeface="Verdana" panose="020B0604030504040204" pitchFamily="34" charset="0"/>
            <a:cs typeface="+mn-cs"/>
          </a:endParaRPr>
        </a:p>
      </dgm:t>
    </dgm:pt>
    <dgm:pt modelId="{54AB22B2-02E3-4BD9-8C8A-C6E4E5BFC694}" type="parTrans" cxnId="{E0570264-100D-457B-AD60-D04B8917F079}">
      <dgm:prSet/>
      <dgm:spPr/>
      <dgm:t>
        <a:bodyPr/>
        <a:lstStyle/>
        <a:p>
          <a:endParaRPr lang="en-US" sz="1400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5AFDD7FA-A0B2-408E-894B-F024B8AE0CB3}" type="sibTrans" cxnId="{E0570264-100D-457B-AD60-D04B8917F079}">
      <dgm:prSet/>
      <dgm:spPr/>
      <dgm:t>
        <a:bodyPr/>
        <a:lstStyle/>
        <a:p>
          <a:endParaRPr lang="en-US" sz="1400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08DC15D0-A056-40FA-B262-DC58190AE5B2}">
      <dgm:prSet phldrT="[Text]" custT="1"/>
      <dgm:spPr>
        <a:solidFill>
          <a:srgbClr val="D5F4FF"/>
        </a:solidFill>
        <a:ln w="19050" cap="flat" cmpd="sng" algn="ctr">
          <a:solidFill>
            <a:srgbClr val="0070C0"/>
          </a:solidFill>
          <a:prstDash val="solid"/>
          <a:miter lim="800000"/>
        </a:ln>
        <a:effectLst/>
      </dgm:spPr>
      <dgm:t>
        <a:bodyPr spcFirstLastPara="0" vert="horz" wrap="square" lIns="57150" tIns="57150" rIns="57150" bIns="57150" numCol="1" spcCol="1270" anchor="ctr" anchorCtr="0"/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 dirty="0">
            <a:solidFill>
              <a:srgbClr val="5B9BD5">
                <a:lumMod val="50000"/>
              </a:srgbClr>
            </a:solidFill>
            <a:latin typeface="Verdana" panose="020B0604030504040204" pitchFamily="34" charset="0"/>
            <a:ea typeface="Verdana" panose="020B0604030504040204" pitchFamily="34" charset="0"/>
            <a:cs typeface="+mn-cs"/>
          </a:endParaRPr>
        </a:p>
      </dgm:t>
    </dgm:pt>
    <dgm:pt modelId="{72D47F3B-A447-4AC6-95B9-7148EFF820E4}" type="parTrans" cxnId="{15EAA9BB-5532-48E5-B5B2-4E2510CFDAFE}">
      <dgm:prSet/>
      <dgm:spPr/>
      <dgm:t>
        <a:bodyPr/>
        <a:lstStyle/>
        <a:p>
          <a:endParaRPr lang="en-US" sz="1400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D1D95434-BE91-4547-A6EC-84B50F7822DF}" type="sibTrans" cxnId="{15EAA9BB-5532-48E5-B5B2-4E2510CFDAFE}">
      <dgm:prSet/>
      <dgm:spPr/>
      <dgm:t>
        <a:bodyPr/>
        <a:lstStyle/>
        <a:p>
          <a:endParaRPr lang="en-US" sz="1400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C17B5C28-B867-44CA-9F83-BA4E8FF42771}">
      <dgm:prSet phldrT="[Text]" custT="1"/>
      <dgm:spPr>
        <a:solidFill>
          <a:srgbClr val="D5F4FF"/>
        </a:solidFill>
        <a:ln w="19050" cap="flat" cmpd="sng" algn="ctr">
          <a:solidFill>
            <a:srgbClr val="0070C0"/>
          </a:solidFill>
          <a:prstDash val="solid"/>
          <a:miter lim="800000"/>
        </a:ln>
        <a:effectLst/>
      </dgm:spPr>
      <dgm:t>
        <a:bodyPr spcFirstLastPara="0" vert="horz" wrap="square" lIns="57150" tIns="57150" rIns="57150" bIns="57150" numCol="1" spcCol="1270" anchor="ctr" anchorCtr="0"/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 dirty="0">
            <a:solidFill>
              <a:srgbClr val="5B9BD5">
                <a:lumMod val="50000"/>
              </a:srgbClr>
            </a:solidFill>
            <a:latin typeface="Verdana" panose="020B0604030504040204" pitchFamily="34" charset="0"/>
            <a:ea typeface="Verdana" panose="020B0604030504040204" pitchFamily="34" charset="0"/>
            <a:cs typeface="+mn-cs"/>
          </a:endParaRPr>
        </a:p>
      </dgm:t>
    </dgm:pt>
    <dgm:pt modelId="{755B8405-7429-4C55-8A52-8F08ADE8BDB1}" type="parTrans" cxnId="{ECB1AE6D-7528-4E5E-989C-5CA5FCFE8A8C}">
      <dgm:prSet/>
      <dgm:spPr/>
      <dgm:t>
        <a:bodyPr/>
        <a:lstStyle/>
        <a:p>
          <a:endParaRPr lang="en-US" sz="1400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7166D6BD-D52E-4E98-A191-71A438949343}" type="sibTrans" cxnId="{ECB1AE6D-7528-4E5E-989C-5CA5FCFE8A8C}">
      <dgm:prSet/>
      <dgm:spPr/>
      <dgm:t>
        <a:bodyPr/>
        <a:lstStyle/>
        <a:p>
          <a:endParaRPr lang="en-US" sz="1400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FD020297-9410-4CCE-8FB6-5B11085B25DD}">
      <dgm:prSet phldrT="[Text]" custT="1"/>
      <dgm:spPr>
        <a:solidFill>
          <a:srgbClr val="D5F4FF"/>
        </a:solidFill>
        <a:ln w="19050" cap="flat" cmpd="sng" algn="ctr">
          <a:solidFill>
            <a:srgbClr val="0070C0"/>
          </a:solidFill>
          <a:prstDash val="solid"/>
          <a:miter lim="800000"/>
        </a:ln>
        <a:effectLst/>
      </dgm:spPr>
      <dgm:t>
        <a:bodyPr spcFirstLastPara="0" vert="horz" wrap="square" lIns="57150" tIns="57150" rIns="57150" bIns="57150" numCol="1" spcCol="1270" anchor="ctr" anchorCtr="0"/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 dirty="0">
            <a:solidFill>
              <a:srgbClr val="5B9BD5">
                <a:lumMod val="50000"/>
              </a:srgbClr>
            </a:solidFill>
            <a:latin typeface="Verdana" panose="020B0604030504040204" pitchFamily="34" charset="0"/>
            <a:ea typeface="Verdana" panose="020B0604030504040204" pitchFamily="34" charset="0"/>
            <a:cs typeface="+mn-cs"/>
          </a:endParaRPr>
        </a:p>
      </dgm:t>
    </dgm:pt>
    <dgm:pt modelId="{11524C14-9D47-4284-B1A0-CC8B8FF9BE94}" type="parTrans" cxnId="{EBBA4D94-78FE-46A7-BC7A-9F0E891614C6}">
      <dgm:prSet/>
      <dgm:spPr/>
      <dgm:t>
        <a:bodyPr/>
        <a:lstStyle/>
        <a:p>
          <a:endParaRPr lang="en-US" sz="1400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571AB687-FDFD-4A82-93CC-E1BCB8B3FD9D}" type="sibTrans" cxnId="{EBBA4D94-78FE-46A7-BC7A-9F0E891614C6}">
      <dgm:prSet/>
      <dgm:spPr/>
      <dgm:t>
        <a:bodyPr/>
        <a:lstStyle/>
        <a:p>
          <a:endParaRPr lang="en-US" sz="1400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54D6D2D4-29A4-4461-9665-177842896EBF}">
      <dgm:prSet phldrT="[Text]" custT="1"/>
      <dgm:spPr>
        <a:solidFill>
          <a:srgbClr val="D5F4FF"/>
        </a:solidFill>
        <a:ln w="19050" cap="flat" cmpd="sng" algn="ctr">
          <a:solidFill>
            <a:srgbClr val="0070C0"/>
          </a:solidFill>
          <a:prstDash val="solid"/>
          <a:miter lim="800000"/>
        </a:ln>
        <a:effectLst/>
      </dgm:spPr>
      <dgm:t>
        <a:bodyPr spcFirstLastPara="0" vert="horz" wrap="square" lIns="57150" tIns="57150" rIns="57150" bIns="57150" numCol="1" spcCol="1270" anchor="ctr" anchorCtr="0"/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 dirty="0">
            <a:solidFill>
              <a:srgbClr val="5B9BD5">
                <a:lumMod val="50000"/>
              </a:srgbClr>
            </a:solidFill>
            <a:latin typeface="Verdana" panose="020B0604030504040204" pitchFamily="34" charset="0"/>
            <a:ea typeface="Verdana" panose="020B0604030504040204" pitchFamily="34" charset="0"/>
            <a:cs typeface="+mn-cs"/>
          </a:endParaRPr>
        </a:p>
      </dgm:t>
    </dgm:pt>
    <dgm:pt modelId="{96BC125E-AF95-4FF9-8068-123AEE1ECF0F}" type="parTrans" cxnId="{CD5E117A-CE50-4969-9CCC-DC88F8347F5F}">
      <dgm:prSet/>
      <dgm:spPr/>
      <dgm:t>
        <a:bodyPr/>
        <a:lstStyle/>
        <a:p>
          <a:endParaRPr lang="en-US" sz="1400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EED72A1A-17B5-4172-ACE5-D56E73E3E1C2}" type="sibTrans" cxnId="{CD5E117A-CE50-4969-9CCC-DC88F8347F5F}">
      <dgm:prSet/>
      <dgm:spPr/>
      <dgm:t>
        <a:bodyPr/>
        <a:lstStyle/>
        <a:p>
          <a:endParaRPr lang="en-US" sz="1400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9ABE39FA-0A1C-402D-B808-BC340BB1D354}">
      <dgm:prSet phldrT="[Text]" custT="1"/>
      <dgm:spPr>
        <a:solidFill>
          <a:srgbClr val="D5F4FF"/>
        </a:solidFill>
        <a:ln w="19050" cap="flat" cmpd="sng" algn="ctr">
          <a:solidFill>
            <a:srgbClr val="0070C0"/>
          </a:solidFill>
          <a:prstDash val="solid"/>
          <a:miter lim="800000"/>
        </a:ln>
        <a:effectLst/>
      </dgm:spPr>
      <dgm:t>
        <a:bodyPr spcFirstLastPara="0" vert="horz" wrap="square" lIns="57150" tIns="57150" rIns="57150" bIns="57150" numCol="1" spcCol="1270" anchor="ctr" anchorCtr="0"/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 dirty="0">
            <a:solidFill>
              <a:srgbClr val="5B9BD5">
                <a:lumMod val="50000"/>
              </a:srgbClr>
            </a:solidFill>
            <a:latin typeface="Verdana" panose="020B0604030504040204" pitchFamily="34" charset="0"/>
            <a:ea typeface="Verdana" panose="020B0604030504040204" pitchFamily="34" charset="0"/>
            <a:cs typeface="+mn-cs"/>
          </a:endParaRPr>
        </a:p>
      </dgm:t>
    </dgm:pt>
    <dgm:pt modelId="{9DF524E4-B7AE-45EA-B88B-73FE7AC5AB16}" type="sibTrans" cxnId="{E7B569C5-94A2-48BB-878A-DB61E10E7430}">
      <dgm:prSet/>
      <dgm:spPr/>
      <dgm:t>
        <a:bodyPr/>
        <a:lstStyle/>
        <a:p>
          <a:endParaRPr lang="en-US" sz="1400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F3A2F05C-FF45-4C6E-A7E3-C45976655192}" type="parTrans" cxnId="{E7B569C5-94A2-48BB-878A-DB61E10E7430}">
      <dgm:prSet/>
      <dgm:spPr/>
      <dgm:t>
        <a:bodyPr/>
        <a:lstStyle/>
        <a:p>
          <a:endParaRPr lang="en-US" sz="1400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C41F7428-B831-499D-B31B-DB9AAA34CDCD}">
      <dgm:prSet phldrT="[Text]" custT="1"/>
      <dgm:spPr>
        <a:solidFill>
          <a:srgbClr val="D5F4FF"/>
        </a:solidFill>
        <a:ln w="19050" cap="flat" cmpd="sng" algn="ctr">
          <a:solidFill>
            <a:srgbClr val="0070C0"/>
          </a:solidFill>
          <a:prstDash val="solid"/>
          <a:miter lim="800000"/>
        </a:ln>
        <a:effectLst/>
      </dgm:spPr>
      <dgm:t>
        <a:bodyPr spcFirstLastPara="0" vert="horz" wrap="square" lIns="57150" tIns="57150" rIns="57150" bIns="57150" numCol="1" spcCol="1270" anchor="ctr" anchorCtr="0"/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 dirty="0">
            <a:solidFill>
              <a:srgbClr val="5B9BD5">
                <a:lumMod val="50000"/>
              </a:srgbClr>
            </a:solidFill>
            <a:latin typeface="Verdana" panose="020B0604030504040204" pitchFamily="34" charset="0"/>
            <a:ea typeface="Verdana" panose="020B0604030504040204" pitchFamily="34" charset="0"/>
            <a:cs typeface="+mn-cs"/>
          </a:endParaRPr>
        </a:p>
      </dgm:t>
    </dgm:pt>
    <dgm:pt modelId="{0F6393D3-1C9F-4737-A813-24D50AE39780}" type="sibTrans" cxnId="{0FBF5611-CB31-467C-A9ED-ADD2A635F3BB}">
      <dgm:prSet/>
      <dgm:spPr/>
      <dgm:t>
        <a:bodyPr/>
        <a:lstStyle/>
        <a:p>
          <a:endParaRPr lang="en-US" sz="1400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2FEB09B1-26BA-428C-96D8-02FEF59DF992}" type="parTrans" cxnId="{0FBF5611-CB31-467C-A9ED-ADD2A635F3BB}">
      <dgm:prSet/>
      <dgm:spPr/>
      <dgm:t>
        <a:bodyPr/>
        <a:lstStyle/>
        <a:p>
          <a:endParaRPr lang="en-US" sz="1400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B63CCED1-8164-457D-B127-D6CF9281EAFE}">
      <dgm:prSet phldrT="[Text]" custT="1"/>
      <dgm:spPr>
        <a:solidFill>
          <a:srgbClr val="D5F4FF"/>
        </a:solidFill>
        <a:ln w="19050" cap="flat" cmpd="sng" algn="ctr">
          <a:solidFill>
            <a:srgbClr val="0070C0"/>
          </a:solidFill>
          <a:prstDash val="solid"/>
          <a:miter lim="800000"/>
        </a:ln>
        <a:effectLst/>
      </dgm:spPr>
      <dgm:t>
        <a:bodyPr spcFirstLastPara="0" vert="horz" wrap="square" lIns="57150" tIns="57150" rIns="57150" bIns="57150" numCol="1" spcCol="1270" anchor="ctr" anchorCtr="0"/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 dirty="0">
            <a:solidFill>
              <a:srgbClr val="5B9BD5">
                <a:lumMod val="50000"/>
              </a:srgbClr>
            </a:solidFill>
            <a:latin typeface="Verdana" panose="020B0604030504040204" pitchFamily="34" charset="0"/>
            <a:ea typeface="Verdana" panose="020B0604030504040204" pitchFamily="34" charset="0"/>
            <a:cs typeface="+mn-cs"/>
          </a:endParaRPr>
        </a:p>
      </dgm:t>
    </dgm:pt>
    <dgm:pt modelId="{91D3D1EA-85FC-4F17-98D6-7BDB1F7BDB9B}" type="sibTrans" cxnId="{EC3890B5-3BCE-4812-9A8C-9CA5768E7E9B}">
      <dgm:prSet/>
      <dgm:spPr/>
      <dgm:t>
        <a:bodyPr/>
        <a:lstStyle/>
        <a:p>
          <a:endParaRPr lang="en-US" sz="1400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820C0789-B61B-420E-88E6-D9D0D58B9F0B}" type="parTrans" cxnId="{EC3890B5-3BCE-4812-9A8C-9CA5768E7E9B}">
      <dgm:prSet/>
      <dgm:spPr/>
      <dgm:t>
        <a:bodyPr/>
        <a:lstStyle/>
        <a:p>
          <a:endParaRPr lang="en-US" sz="1400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5385599B-8AAE-4B31-B63C-CFCBA2A62BC6}" type="pres">
      <dgm:prSet presAssocID="{7307E4D1-6DE5-4901-8684-AA9B316E55E2}" presName="Name0" presStyleCnt="0">
        <dgm:presLayoutVars>
          <dgm:dir/>
          <dgm:animLvl val="lvl"/>
          <dgm:resizeHandles/>
        </dgm:presLayoutVars>
      </dgm:prSet>
      <dgm:spPr/>
    </dgm:pt>
    <dgm:pt modelId="{9D3F7334-99BC-4F0A-8CB4-AABA8CD9E0E0}" type="pres">
      <dgm:prSet presAssocID="{1653DDC3-C30A-44A9-B11C-AE5A7A4B6716}" presName="linNode" presStyleCnt="0"/>
      <dgm:spPr/>
    </dgm:pt>
    <dgm:pt modelId="{F98DE6D1-A676-4F24-8F9E-0895D213AEC6}" type="pres">
      <dgm:prSet presAssocID="{1653DDC3-C30A-44A9-B11C-AE5A7A4B6716}" presName="parentShp" presStyleLbl="node1" presStyleIdx="0" presStyleCnt="8" custScaleX="740918" custScaleY="85413">
        <dgm:presLayoutVars>
          <dgm:bulletEnabled val="1"/>
        </dgm:presLayoutVars>
      </dgm:prSet>
      <dgm:spPr>
        <a:xfrm>
          <a:off x="0" y="509"/>
          <a:ext cx="1702435" cy="642414"/>
        </a:xfrm>
        <a:prstGeom prst="roundRect">
          <a:avLst/>
        </a:prstGeom>
      </dgm:spPr>
    </dgm:pt>
    <dgm:pt modelId="{9B7BE5D1-FF81-453E-8E43-1296E6B0AB92}" type="pres">
      <dgm:prSet presAssocID="{1653DDC3-C30A-44A9-B11C-AE5A7A4B6716}" presName="childShp" presStyleLbl="bgAccFollowNode1" presStyleIdx="0" presStyleCnt="8">
        <dgm:presLayoutVars>
          <dgm:bulletEnabled val="1"/>
        </dgm:presLayoutVars>
      </dgm:prSet>
      <dgm:spPr>
        <a:xfrm>
          <a:off x="1702435" y="509"/>
          <a:ext cx="2553652" cy="642414"/>
        </a:xfrm>
        <a:prstGeom prst="rightArrow">
          <a:avLst>
            <a:gd name="adj1" fmla="val 75000"/>
            <a:gd name="adj2" fmla="val 50000"/>
          </a:avLst>
        </a:prstGeom>
        <a:solidFill>
          <a:srgbClr val="0070C0">
            <a:alpha val="90000"/>
          </a:srgbClr>
        </a:solidFill>
        <a:ln w="28575">
          <a:solidFill>
            <a:srgbClr val="00B0F0">
              <a:alpha val="90000"/>
            </a:srgbClr>
          </a:solidFill>
        </a:ln>
      </dgm:spPr>
    </dgm:pt>
    <dgm:pt modelId="{3DDCD5D1-EA02-4003-AE4C-9058CD75388B}" type="pres">
      <dgm:prSet presAssocID="{5AFDD7FA-A0B2-408E-894B-F024B8AE0CB3}" presName="spacing" presStyleCnt="0"/>
      <dgm:spPr/>
    </dgm:pt>
    <dgm:pt modelId="{E564DCF6-E8F0-4C62-B2FB-97C1DFCEC2A1}" type="pres">
      <dgm:prSet presAssocID="{B63CCED1-8164-457D-B127-D6CF9281EAFE}" presName="linNode" presStyleCnt="0"/>
      <dgm:spPr/>
    </dgm:pt>
    <dgm:pt modelId="{9A5ABA96-16C1-4309-9D0B-FC4529012D9D}" type="pres">
      <dgm:prSet presAssocID="{B63CCED1-8164-457D-B127-D6CF9281EAFE}" presName="parentShp" presStyleLbl="node1" presStyleIdx="1" presStyleCnt="8" custScaleX="708324">
        <dgm:presLayoutVars>
          <dgm:bulletEnabled val="1"/>
        </dgm:presLayoutVars>
      </dgm:prSet>
      <dgm:spPr>
        <a:xfrm>
          <a:off x="0" y="715959"/>
          <a:ext cx="1702435" cy="649210"/>
        </a:xfrm>
        <a:prstGeom prst="roundRect">
          <a:avLst/>
        </a:prstGeom>
      </dgm:spPr>
    </dgm:pt>
    <dgm:pt modelId="{F10F09BA-63EE-49D4-8583-D1D64B7DE6B0}" type="pres">
      <dgm:prSet presAssocID="{B63CCED1-8164-457D-B127-D6CF9281EAFE}" presName="childShp" presStyleLbl="bgAccFollowNode1" presStyleIdx="1" presStyleCnt="8">
        <dgm:presLayoutVars>
          <dgm:bulletEnabled val="1"/>
        </dgm:presLayoutVars>
      </dgm:prSet>
      <dgm:spPr>
        <a:xfrm>
          <a:off x="1702435" y="707165"/>
          <a:ext cx="2553652" cy="642414"/>
        </a:xfrm>
        <a:prstGeom prst="rightArrow">
          <a:avLst>
            <a:gd name="adj1" fmla="val 75000"/>
            <a:gd name="adj2" fmla="val 50000"/>
          </a:avLst>
        </a:prstGeom>
        <a:solidFill>
          <a:srgbClr val="0070C0">
            <a:alpha val="90000"/>
          </a:srgbClr>
        </a:solidFill>
        <a:ln w="28575">
          <a:solidFill>
            <a:srgbClr val="00B0F0">
              <a:alpha val="90000"/>
            </a:srgbClr>
          </a:solidFill>
        </a:ln>
      </dgm:spPr>
    </dgm:pt>
    <dgm:pt modelId="{97AF62F0-1B30-46C7-92E6-77D8BCDF1102}" type="pres">
      <dgm:prSet presAssocID="{91D3D1EA-85FC-4F17-98D6-7BDB1F7BDB9B}" presName="spacing" presStyleCnt="0"/>
      <dgm:spPr/>
    </dgm:pt>
    <dgm:pt modelId="{A706A750-BB6C-4FA0-8D61-13389FEFA5B5}" type="pres">
      <dgm:prSet presAssocID="{C41F7428-B831-499D-B31B-DB9AAA34CDCD}" presName="linNode" presStyleCnt="0"/>
      <dgm:spPr/>
    </dgm:pt>
    <dgm:pt modelId="{57D10114-EAFA-4CAD-A1BA-604268447782}" type="pres">
      <dgm:prSet presAssocID="{C41F7428-B831-499D-B31B-DB9AAA34CDCD}" presName="parentShp" presStyleLbl="node1" presStyleIdx="2" presStyleCnt="8" custScaleX="656949">
        <dgm:presLayoutVars>
          <dgm:bulletEnabled val="1"/>
        </dgm:presLayoutVars>
      </dgm:prSet>
      <dgm:spPr>
        <a:xfrm>
          <a:off x="0" y="1413821"/>
          <a:ext cx="1702435" cy="642414"/>
        </a:xfrm>
        <a:prstGeom prst="roundRect">
          <a:avLst/>
        </a:prstGeom>
      </dgm:spPr>
    </dgm:pt>
    <dgm:pt modelId="{C7F6A13B-6E07-43FC-B294-B3A49875C593}" type="pres">
      <dgm:prSet presAssocID="{C41F7428-B831-499D-B31B-DB9AAA34CDCD}" presName="childShp" presStyleLbl="bgAccFollowNode1" presStyleIdx="2" presStyleCnt="8">
        <dgm:presLayoutVars>
          <dgm:bulletEnabled val="1"/>
        </dgm:presLayoutVars>
      </dgm:prSet>
      <dgm:spPr>
        <a:xfrm>
          <a:off x="1702435" y="1413821"/>
          <a:ext cx="2553652" cy="642414"/>
        </a:xfrm>
        <a:prstGeom prst="rightArrow">
          <a:avLst>
            <a:gd name="adj1" fmla="val 75000"/>
            <a:gd name="adj2" fmla="val 50000"/>
          </a:avLst>
        </a:prstGeom>
        <a:solidFill>
          <a:srgbClr val="0070C0"/>
        </a:solidFill>
        <a:ln w="28575" cap="flat" cmpd="sng" algn="ctr">
          <a:solidFill>
            <a:srgbClr val="00B0F0"/>
          </a:solidFill>
          <a:prstDash val="solid"/>
          <a:miter lim="800000"/>
        </a:ln>
        <a:effectLst/>
      </dgm:spPr>
    </dgm:pt>
    <dgm:pt modelId="{9B3D9D02-6266-4DD8-969D-6AC54790ADE2}" type="pres">
      <dgm:prSet presAssocID="{0F6393D3-1C9F-4737-A813-24D50AE39780}" presName="spacing" presStyleCnt="0"/>
      <dgm:spPr/>
    </dgm:pt>
    <dgm:pt modelId="{353A7DD9-3B3D-42F8-81DA-3A81D8D60606}" type="pres">
      <dgm:prSet presAssocID="{9ABE39FA-0A1C-402D-B808-BC340BB1D354}" presName="linNode" presStyleCnt="0"/>
      <dgm:spPr/>
    </dgm:pt>
    <dgm:pt modelId="{1E02108A-BC5C-4A71-A11B-CE732CEB7EC4}" type="pres">
      <dgm:prSet presAssocID="{9ABE39FA-0A1C-402D-B808-BC340BB1D354}" presName="parentShp" presStyleLbl="node1" presStyleIdx="3" presStyleCnt="8" custScaleX="637280">
        <dgm:presLayoutVars>
          <dgm:bulletEnabled val="1"/>
        </dgm:presLayoutVars>
      </dgm:prSet>
      <dgm:spPr>
        <a:xfrm>
          <a:off x="0" y="2120477"/>
          <a:ext cx="1702435" cy="642414"/>
        </a:xfrm>
        <a:prstGeom prst="roundRect">
          <a:avLst/>
        </a:prstGeom>
      </dgm:spPr>
    </dgm:pt>
    <dgm:pt modelId="{46D57D0A-FC3F-4692-86D4-37391298CFEC}" type="pres">
      <dgm:prSet presAssocID="{9ABE39FA-0A1C-402D-B808-BC340BB1D354}" presName="childShp" presStyleLbl="bgAccFollowNode1" presStyleIdx="3" presStyleCnt="8">
        <dgm:presLayoutVars>
          <dgm:bulletEnabled val="1"/>
        </dgm:presLayoutVars>
      </dgm:prSet>
      <dgm:spPr>
        <a:xfrm>
          <a:off x="1702435" y="2120477"/>
          <a:ext cx="2553652" cy="642414"/>
        </a:xfrm>
        <a:prstGeom prst="rightArrow">
          <a:avLst>
            <a:gd name="adj1" fmla="val 75000"/>
            <a:gd name="adj2" fmla="val 50000"/>
          </a:avLst>
        </a:prstGeom>
        <a:solidFill>
          <a:srgbClr val="0070C0"/>
        </a:solidFill>
        <a:ln w="28575" cap="flat" cmpd="sng" algn="ctr">
          <a:solidFill>
            <a:srgbClr val="00B0F0"/>
          </a:solidFill>
          <a:prstDash val="solid"/>
          <a:miter lim="800000"/>
        </a:ln>
        <a:effectLst/>
      </dgm:spPr>
    </dgm:pt>
    <dgm:pt modelId="{F36B5C65-C304-4F3E-8DF8-C42C90AE1255}" type="pres">
      <dgm:prSet presAssocID="{9DF524E4-B7AE-45EA-B88B-73FE7AC5AB16}" presName="spacing" presStyleCnt="0"/>
      <dgm:spPr/>
    </dgm:pt>
    <dgm:pt modelId="{51ADD7E5-5A04-4F95-A6DD-F2832C1A5B66}" type="pres">
      <dgm:prSet presAssocID="{08DC15D0-A056-40FA-B262-DC58190AE5B2}" presName="linNode" presStyleCnt="0"/>
      <dgm:spPr/>
    </dgm:pt>
    <dgm:pt modelId="{5AB59920-FA1F-4568-98FC-4D079DD5B12D}" type="pres">
      <dgm:prSet presAssocID="{08DC15D0-A056-40FA-B262-DC58190AE5B2}" presName="parentShp" presStyleLbl="node1" presStyleIdx="4" presStyleCnt="8" custScaleX="589616">
        <dgm:presLayoutVars>
          <dgm:bulletEnabled val="1"/>
        </dgm:presLayoutVars>
      </dgm:prSet>
      <dgm:spPr>
        <a:xfrm>
          <a:off x="0" y="2827133"/>
          <a:ext cx="1702435" cy="642414"/>
        </a:xfrm>
        <a:prstGeom prst="roundRect">
          <a:avLst/>
        </a:prstGeom>
      </dgm:spPr>
    </dgm:pt>
    <dgm:pt modelId="{9D22B3BB-A1E6-49B5-87BE-1A7F8ABCCDBD}" type="pres">
      <dgm:prSet presAssocID="{08DC15D0-A056-40FA-B262-DC58190AE5B2}" presName="childShp" presStyleLbl="bgAccFollowNode1" presStyleIdx="4" presStyleCnt="8">
        <dgm:presLayoutVars>
          <dgm:bulletEnabled val="1"/>
        </dgm:presLayoutVars>
      </dgm:prSet>
      <dgm:spPr>
        <a:xfrm>
          <a:off x="1702435" y="2827133"/>
          <a:ext cx="2553652" cy="642414"/>
        </a:xfrm>
        <a:prstGeom prst="rightArrow">
          <a:avLst>
            <a:gd name="adj1" fmla="val 75000"/>
            <a:gd name="adj2" fmla="val 50000"/>
          </a:avLst>
        </a:prstGeom>
        <a:solidFill>
          <a:srgbClr val="0070C0"/>
        </a:solidFill>
        <a:ln w="28575" cap="flat" cmpd="sng" algn="ctr">
          <a:solidFill>
            <a:srgbClr val="00B0F0"/>
          </a:solidFill>
          <a:prstDash val="solid"/>
          <a:miter lim="800000"/>
        </a:ln>
        <a:effectLst/>
      </dgm:spPr>
    </dgm:pt>
    <dgm:pt modelId="{94374534-12D5-40AD-8FB2-2FC4AC1F6565}" type="pres">
      <dgm:prSet presAssocID="{D1D95434-BE91-4547-A6EC-84B50F7822DF}" presName="spacing" presStyleCnt="0"/>
      <dgm:spPr/>
    </dgm:pt>
    <dgm:pt modelId="{BDCA29E9-960B-4AF1-BCB5-24B385E10194}" type="pres">
      <dgm:prSet presAssocID="{C17B5C28-B867-44CA-9F83-BA4E8FF42771}" presName="linNode" presStyleCnt="0"/>
      <dgm:spPr/>
    </dgm:pt>
    <dgm:pt modelId="{2F832CD8-0F67-4587-8830-DBE13C1D1568}" type="pres">
      <dgm:prSet presAssocID="{C17B5C28-B867-44CA-9F83-BA4E8FF42771}" presName="parentShp" presStyleLbl="node1" presStyleIdx="5" presStyleCnt="8" custScaleX="603834">
        <dgm:presLayoutVars>
          <dgm:bulletEnabled val="1"/>
        </dgm:presLayoutVars>
      </dgm:prSet>
      <dgm:spPr>
        <a:xfrm>
          <a:off x="0" y="3533788"/>
          <a:ext cx="1702435" cy="642414"/>
        </a:xfrm>
        <a:prstGeom prst="roundRect">
          <a:avLst/>
        </a:prstGeom>
      </dgm:spPr>
    </dgm:pt>
    <dgm:pt modelId="{9E927A6B-25D1-410A-86CD-77ABBB58FF20}" type="pres">
      <dgm:prSet presAssocID="{C17B5C28-B867-44CA-9F83-BA4E8FF42771}" presName="childShp" presStyleLbl="bgAccFollowNode1" presStyleIdx="5" presStyleCnt="8">
        <dgm:presLayoutVars>
          <dgm:bulletEnabled val="1"/>
        </dgm:presLayoutVars>
      </dgm:prSet>
      <dgm:spPr>
        <a:xfrm>
          <a:off x="1702435" y="3533788"/>
          <a:ext cx="2553652" cy="642414"/>
        </a:xfrm>
        <a:prstGeom prst="rightArrow">
          <a:avLst>
            <a:gd name="adj1" fmla="val 75000"/>
            <a:gd name="adj2" fmla="val 50000"/>
          </a:avLst>
        </a:prstGeom>
        <a:solidFill>
          <a:srgbClr val="0070C0"/>
        </a:solidFill>
        <a:ln w="28575" cap="flat" cmpd="sng" algn="ctr">
          <a:solidFill>
            <a:srgbClr val="00B0F0"/>
          </a:solidFill>
          <a:prstDash val="solid"/>
          <a:miter lim="800000"/>
        </a:ln>
        <a:effectLst/>
      </dgm:spPr>
    </dgm:pt>
    <dgm:pt modelId="{F1583BE7-47D1-4C9D-895D-FB49B77FC9F5}" type="pres">
      <dgm:prSet presAssocID="{7166D6BD-D52E-4E98-A191-71A438949343}" presName="spacing" presStyleCnt="0"/>
      <dgm:spPr/>
    </dgm:pt>
    <dgm:pt modelId="{1C4E9613-B408-4493-81BA-DFF6247013C6}" type="pres">
      <dgm:prSet presAssocID="{54D6D2D4-29A4-4461-9665-177842896EBF}" presName="linNode" presStyleCnt="0"/>
      <dgm:spPr/>
    </dgm:pt>
    <dgm:pt modelId="{7ECF98D0-1E11-4C07-8F10-4DCFF4287081}" type="pres">
      <dgm:prSet presAssocID="{54D6D2D4-29A4-4461-9665-177842896EBF}" presName="parentShp" presStyleLbl="node1" presStyleIdx="6" presStyleCnt="8" custScaleX="612316">
        <dgm:presLayoutVars>
          <dgm:bulletEnabled val="1"/>
        </dgm:presLayoutVars>
      </dgm:prSet>
      <dgm:spPr/>
    </dgm:pt>
    <dgm:pt modelId="{0B04CA0F-CECF-4155-8C51-3EE166242C63}" type="pres">
      <dgm:prSet presAssocID="{54D6D2D4-29A4-4461-9665-177842896EBF}" presName="childShp" presStyleLbl="bgAccFollowNode1" presStyleIdx="6" presStyleCnt="8">
        <dgm:presLayoutVars>
          <dgm:bulletEnabled val="1"/>
        </dgm:presLayoutVars>
      </dgm:prSet>
      <dgm:spPr>
        <a:solidFill>
          <a:srgbClr val="0070C0"/>
        </a:solidFill>
        <a:ln>
          <a:solidFill>
            <a:srgbClr val="00B0F0"/>
          </a:solidFill>
        </a:ln>
      </dgm:spPr>
    </dgm:pt>
    <dgm:pt modelId="{3E12F438-3FF7-4E5B-B94D-BAA7DEC4639B}" type="pres">
      <dgm:prSet presAssocID="{EED72A1A-17B5-4172-ACE5-D56E73E3E1C2}" presName="spacing" presStyleCnt="0"/>
      <dgm:spPr/>
    </dgm:pt>
    <dgm:pt modelId="{1BBC461E-35F6-4123-9C7E-2E1976640A4C}" type="pres">
      <dgm:prSet presAssocID="{FD020297-9410-4CCE-8FB6-5B11085B25DD}" presName="linNode" presStyleCnt="0"/>
      <dgm:spPr/>
    </dgm:pt>
    <dgm:pt modelId="{9E5D63AA-DFE5-4C55-BA33-B74BA9097F51}" type="pres">
      <dgm:prSet presAssocID="{FD020297-9410-4CCE-8FB6-5B11085B25DD}" presName="parentShp" presStyleLbl="node1" presStyleIdx="7" presStyleCnt="8" custScaleX="593048">
        <dgm:presLayoutVars>
          <dgm:bulletEnabled val="1"/>
        </dgm:presLayoutVars>
      </dgm:prSet>
      <dgm:spPr/>
    </dgm:pt>
    <dgm:pt modelId="{573823A5-9727-4D53-B347-2BE301AEC629}" type="pres">
      <dgm:prSet presAssocID="{FD020297-9410-4CCE-8FB6-5B11085B25DD}" presName="childShp" presStyleLbl="bgAccFollowNode1" presStyleIdx="7" presStyleCnt="8">
        <dgm:presLayoutVars>
          <dgm:bulletEnabled val="1"/>
        </dgm:presLayoutVars>
      </dgm:prSet>
      <dgm:spPr>
        <a:solidFill>
          <a:srgbClr val="0070C0"/>
        </a:solidFill>
        <a:ln w="28575">
          <a:solidFill>
            <a:srgbClr val="00B0F0">
              <a:alpha val="90000"/>
            </a:srgbClr>
          </a:solidFill>
        </a:ln>
      </dgm:spPr>
    </dgm:pt>
  </dgm:ptLst>
  <dgm:cxnLst>
    <dgm:cxn modelId="{DDA4670E-C69E-4F31-B275-A8752876BC1D}" type="presOf" srcId="{54D6D2D4-29A4-4461-9665-177842896EBF}" destId="{7ECF98D0-1E11-4C07-8F10-4DCFF4287081}" srcOrd="0" destOrd="0" presId="urn:microsoft.com/office/officeart/2005/8/layout/vList6"/>
    <dgm:cxn modelId="{0FBF5611-CB31-467C-A9ED-ADD2A635F3BB}" srcId="{7307E4D1-6DE5-4901-8684-AA9B316E55E2}" destId="{C41F7428-B831-499D-B31B-DB9AAA34CDCD}" srcOrd="2" destOrd="0" parTransId="{2FEB09B1-26BA-428C-96D8-02FEF59DF992}" sibTransId="{0F6393D3-1C9F-4737-A813-24D50AE39780}"/>
    <dgm:cxn modelId="{1A403F2E-1244-46F0-A6C6-C31641A83A70}" type="presOf" srcId="{C17B5C28-B867-44CA-9F83-BA4E8FF42771}" destId="{2F832CD8-0F67-4587-8830-DBE13C1D1568}" srcOrd="0" destOrd="0" presId="urn:microsoft.com/office/officeart/2005/8/layout/vList6"/>
    <dgm:cxn modelId="{E0570264-100D-457B-AD60-D04B8917F079}" srcId="{7307E4D1-6DE5-4901-8684-AA9B316E55E2}" destId="{1653DDC3-C30A-44A9-B11C-AE5A7A4B6716}" srcOrd="0" destOrd="0" parTransId="{54AB22B2-02E3-4BD9-8C8A-C6E4E5BFC694}" sibTransId="{5AFDD7FA-A0B2-408E-894B-F024B8AE0CB3}"/>
    <dgm:cxn modelId="{A8FAB968-D6F3-4F0E-ACDB-B23BD0B35FCC}" type="presOf" srcId="{1653DDC3-C30A-44A9-B11C-AE5A7A4B6716}" destId="{F98DE6D1-A676-4F24-8F9E-0895D213AEC6}" srcOrd="0" destOrd="0" presId="urn:microsoft.com/office/officeart/2005/8/layout/vList6"/>
    <dgm:cxn modelId="{ECB1AE6D-7528-4E5E-989C-5CA5FCFE8A8C}" srcId="{7307E4D1-6DE5-4901-8684-AA9B316E55E2}" destId="{C17B5C28-B867-44CA-9F83-BA4E8FF42771}" srcOrd="5" destOrd="0" parTransId="{755B8405-7429-4C55-8A52-8F08ADE8BDB1}" sibTransId="{7166D6BD-D52E-4E98-A191-71A438949343}"/>
    <dgm:cxn modelId="{029CD375-5380-4275-B522-93BC9BF64286}" type="presOf" srcId="{08DC15D0-A056-40FA-B262-DC58190AE5B2}" destId="{5AB59920-FA1F-4568-98FC-4D079DD5B12D}" srcOrd="0" destOrd="0" presId="urn:microsoft.com/office/officeart/2005/8/layout/vList6"/>
    <dgm:cxn modelId="{CD5E117A-CE50-4969-9CCC-DC88F8347F5F}" srcId="{7307E4D1-6DE5-4901-8684-AA9B316E55E2}" destId="{54D6D2D4-29A4-4461-9665-177842896EBF}" srcOrd="6" destOrd="0" parTransId="{96BC125E-AF95-4FF9-8068-123AEE1ECF0F}" sibTransId="{EED72A1A-17B5-4172-ACE5-D56E73E3E1C2}"/>
    <dgm:cxn modelId="{EBBA4D94-78FE-46A7-BC7A-9F0E891614C6}" srcId="{7307E4D1-6DE5-4901-8684-AA9B316E55E2}" destId="{FD020297-9410-4CCE-8FB6-5B11085B25DD}" srcOrd="7" destOrd="0" parTransId="{11524C14-9D47-4284-B1A0-CC8B8FF9BE94}" sibTransId="{571AB687-FDFD-4A82-93CC-E1BCB8B3FD9D}"/>
    <dgm:cxn modelId="{596B4697-4243-4959-B12C-76421916FB82}" type="presOf" srcId="{9ABE39FA-0A1C-402D-B808-BC340BB1D354}" destId="{1E02108A-BC5C-4A71-A11B-CE732CEB7EC4}" srcOrd="0" destOrd="0" presId="urn:microsoft.com/office/officeart/2005/8/layout/vList6"/>
    <dgm:cxn modelId="{AA084CA0-CC1D-4EE6-905D-E9DB23E75F99}" type="presOf" srcId="{C41F7428-B831-499D-B31B-DB9AAA34CDCD}" destId="{57D10114-EAFA-4CAD-A1BA-604268447782}" srcOrd="0" destOrd="0" presId="urn:microsoft.com/office/officeart/2005/8/layout/vList6"/>
    <dgm:cxn modelId="{EC3890B5-3BCE-4812-9A8C-9CA5768E7E9B}" srcId="{7307E4D1-6DE5-4901-8684-AA9B316E55E2}" destId="{B63CCED1-8164-457D-B127-D6CF9281EAFE}" srcOrd="1" destOrd="0" parTransId="{820C0789-B61B-420E-88E6-D9D0D58B9F0B}" sibTransId="{91D3D1EA-85FC-4F17-98D6-7BDB1F7BDB9B}"/>
    <dgm:cxn modelId="{D57D96BB-BE67-4822-A38C-1F985E87741B}" type="presOf" srcId="{7307E4D1-6DE5-4901-8684-AA9B316E55E2}" destId="{5385599B-8AAE-4B31-B63C-CFCBA2A62BC6}" srcOrd="0" destOrd="0" presId="urn:microsoft.com/office/officeart/2005/8/layout/vList6"/>
    <dgm:cxn modelId="{15EAA9BB-5532-48E5-B5B2-4E2510CFDAFE}" srcId="{7307E4D1-6DE5-4901-8684-AA9B316E55E2}" destId="{08DC15D0-A056-40FA-B262-DC58190AE5B2}" srcOrd="4" destOrd="0" parTransId="{72D47F3B-A447-4AC6-95B9-7148EFF820E4}" sibTransId="{D1D95434-BE91-4547-A6EC-84B50F7822DF}"/>
    <dgm:cxn modelId="{E7B569C5-94A2-48BB-878A-DB61E10E7430}" srcId="{7307E4D1-6DE5-4901-8684-AA9B316E55E2}" destId="{9ABE39FA-0A1C-402D-B808-BC340BB1D354}" srcOrd="3" destOrd="0" parTransId="{F3A2F05C-FF45-4C6E-A7E3-C45976655192}" sibTransId="{9DF524E4-B7AE-45EA-B88B-73FE7AC5AB16}"/>
    <dgm:cxn modelId="{22ED79CC-014F-4748-9CF6-1DFD062CF77E}" type="presOf" srcId="{B63CCED1-8164-457D-B127-D6CF9281EAFE}" destId="{9A5ABA96-16C1-4309-9D0B-FC4529012D9D}" srcOrd="0" destOrd="0" presId="urn:microsoft.com/office/officeart/2005/8/layout/vList6"/>
    <dgm:cxn modelId="{DE83F9F0-8D4E-4E88-B62A-88DF663B25BA}" type="presOf" srcId="{FD020297-9410-4CCE-8FB6-5B11085B25DD}" destId="{9E5D63AA-DFE5-4C55-BA33-B74BA9097F51}" srcOrd="0" destOrd="0" presId="urn:microsoft.com/office/officeart/2005/8/layout/vList6"/>
    <dgm:cxn modelId="{9D5CC17D-09DF-4CA5-8B61-2379388A3C71}" type="presParOf" srcId="{5385599B-8AAE-4B31-B63C-CFCBA2A62BC6}" destId="{9D3F7334-99BC-4F0A-8CB4-AABA8CD9E0E0}" srcOrd="0" destOrd="0" presId="urn:microsoft.com/office/officeart/2005/8/layout/vList6"/>
    <dgm:cxn modelId="{68BBA763-BC64-4CAB-85EE-741CCB982D73}" type="presParOf" srcId="{9D3F7334-99BC-4F0A-8CB4-AABA8CD9E0E0}" destId="{F98DE6D1-A676-4F24-8F9E-0895D213AEC6}" srcOrd="0" destOrd="0" presId="urn:microsoft.com/office/officeart/2005/8/layout/vList6"/>
    <dgm:cxn modelId="{4E0D81A5-7B5A-4A72-83E0-93B10431B492}" type="presParOf" srcId="{9D3F7334-99BC-4F0A-8CB4-AABA8CD9E0E0}" destId="{9B7BE5D1-FF81-453E-8E43-1296E6B0AB92}" srcOrd="1" destOrd="0" presId="urn:microsoft.com/office/officeart/2005/8/layout/vList6"/>
    <dgm:cxn modelId="{CDDE43B7-2A83-48E5-A6BA-EE42953AE0D3}" type="presParOf" srcId="{5385599B-8AAE-4B31-B63C-CFCBA2A62BC6}" destId="{3DDCD5D1-EA02-4003-AE4C-9058CD75388B}" srcOrd="1" destOrd="0" presId="urn:microsoft.com/office/officeart/2005/8/layout/vList6"/>
    <dgm:cxn modelId="{B1B7D4FB-A36D-4845-A4E9-DD6E63C0061A}" type="presParOf" srcId="{5385599B-8AAE-4B31-B63C-CFCBA2A62BC6}" destId="{E564DCF6-E8F0-4C62-B2FB-97C1DFCEC2A1}" srcOrd="2" destOrd="0" presId="urn:microsoft.com/office/officeart/2005/8/layout/vList6"/>
    <dgm:cxn modelId="{D5D0B26A-2B19-4794-8323-FB404238B806}" type="presParOf" srcId="{E564DCF6-E8F0-4C62-B2FB-97C1DFCEC2A1}" destId="{9A5ABA96-16C1-4309-9D0B-FC4529012D9D}" srcOrd="0" destOrd="0" presId="urn:microsoft.com/office/officeart/2005/8/layout/vList6"/>
    <dgm:cxn modelId="{CBD6101B-4ECA-4E07-808C-D81DF7492D3D}" type="presParOf" srcId="{E564DCF6-E8F0-4C62-B2FB-97C1DFCEC2A1}" destId="{F10F09BA-63EE-49D4-8583-D1D64B7DE6B0}" srcOrd="1" destOrd="0" presId="urn:microsoft.com/office/officeart/2005/8/layout/vList6"/>
    <dgm:cxn modelId="{4CC1FB75-DA8C-4007-96B6-58009C3CFBBC}" type="presParOf" srcId="{5385599B-8AAE-4B31-B63C-CFCBA2A62BC6}" destId="{97AF62F0-1B30-46C7-92E6-77D8BCDF1102}" srcOrd="3" destOrd="0" presId="urn:microsoft.com/office/officeart/2005/8/layout/vList6"/>
    <dgm:cxn modelId="{00147DF7-EAF2-494A-BCD7-4163327BB035}" type="presParOf" srcId="{5385599B-8AAE-4B31-B63C-CFCBA2A62BC6}" destId="{A706A750-BB6C-4FA0-8D61-13389FEFA5B5}" srcOrd="4" destOrd="0" presId="urn:microsoft.com/office/officeart/2005/8/layout/vList6"/>
    <dgm:cxn modelId="{36CFC89C-AB5F-4AC3-AE9E-90B81B266AF6}" type="presParOf" srcId="{A706A750-BB6C-4FA0-8D61-13389FEFA5B5}" destId="{57D10114-EAFA-4CAD-A1BA-604268447782}" srcOrd="0" destOrd="0" presId="urn:microsoft.com/office/officeart/2005/8/layout/vList6"/>
    <dgm:cxn modelId="{29D6EC08-DB0B-4BBE-88BF-2526493866B2}" type="presParOf" srcId="{A706A750-BB6C-4FA0-8D61-13389FEFA5B5}" destId="{C7F6A13B-6E07-43FC-B294-B3A49875C593}" srcOrd="1" destOrd="0" presId="urn:microsoft.com/office/officeart/2005/8/layout/vList6"/>
    <dgm:cxn modelId="{6DF3959D-D731-4DC0-8506-B46823D5539A}" type="presParOf" srcId="{5385599B-8AAE-4B31-B63C-CFCBA2A62BC6}" destId="{9B3D9D02-6266-4DD8-969D-6AC54790ADE2}" srcOrd="5" destOrd="0" presId="urn:microsoft.com/office/officeart/2005/8/layout/vList6"/>
    <dgm:cxn modelId="{8B79F8D3-D7B2-4475-BEE6-9A02A6263FF1}" type="presParOf" srcId="{5385599B-8AAE-4B31-B63C-CFCBA2A62BC6}" destId="{353A7DD9-3B3D-42F8-81DA-3A81D8D60606}" srcOrd="6" destOrd="0" presId="urn:microsoft.com/office/officeart/2005/8/layout/vList6"/>
    <dgm:cxn modelId="{3198269B-B96C-4198-8CEE-1BB9AE40E3FD}" type="presParOf" srcId="{353A7DD9-3B3D-42F8-81DA-3A81D8D60606}" destId="{1E02108A-BC5C-4A71-A11B-CE732CEB7EC4}" srcOrd="0" destOrd="0" presId="urn:microsoft.com/office/officeart/2005/8/layout/vList6"/>
    <dgm:cxn modelId="{3F588534-ED97-474C-A231-83AD4D808DAE}" type="presParOf" srcId="{353A7DD9-3B3D-42F8-81DA-3A81D8D60606}" destId="{46D57D0A-FC3F-4692-86D4-37391298CFEC}" srcOrd="1" destOrd="0" presId="urn:microsoft.com/office/officeart/2005/8/layout/vList6"/>
    <dgm:cxn modelId="{FC7A1BEC-D211-4A8A-80BD-98D8DBD4046A}" type="presParOf" srcId="{5385599B-8AAE-4B31-B63C-CFCBA2A62BC6}" destId="{F36B5C65-C304-4F3E-8DF8-C42C90AE1255}" srcOrd="7" destOrd="0" presId="urn:microsoft.com/office/officeart/2005/8/layout/vList6"/>
    <dgm:cxn modelId="{04A76F83-9F11-4C35-B8BC-03FD64D9F4E6}" type="presParOf" srcId="{5385599B-8AAE-4B31-B63C-CFCBA2A62BC6}" destId="{51ADD7E5-5A04-4F95-A6DD-F2832C1A5B66}" srcOrd="8" destOrd="0" presId="urn:microsoft.com/office/officeart/2005/8/layout/vList6"/>
    <dgm:cxn modelId="{8EDDFBAC-E141-49F6-AA85-24C59012AB01}" type="presParOf" srcId="{51ADD7E5-5A04-4F95-A6DD-F2832C1A5B66}" destId="{5AB59920-FA1F-4568-98FC-4D079DD5B12D}" srcOrd="0" destOrd="0" presId="urn:microsoft.com/office/officeart/2005/8/layout/vList6"/>
    <dgm:cxn modelId="{0FDD913A-A7A7-4A48-AFF3-14F2B8FBB271}" type="presParOf" srcId="{51ADD7E5-5A04-4F95-A6DD-F2832C1A5B66}" destId="{9D22B3BB-A1E6-49B5-87BE-1A7F8ABCCDBD}" srcOrd="1" destOrd="0" presId="urn:microsoft.com/office/officeart/2005/8/layout/vList6"/>
    <dgm:cxn modelId="{10257630-A29B-4BC5-A409-AD2369F1D630}" type="presParOf" srcId="{5385599B-8AAE-4B31-B63C-CFCBA2A62BC6}" destId="{94374534-12D5-40AD-8FB2-2FC4AC1F6565}" srcOrd="9" destOrd="0" presId="urn:microsoft.com/office/officeart/2005/8/layout/vList6"/>
    <dgm:cxn modelId="{5E5C9F57-214F-4A23-A777-50DB930AC27F}" type="presParOf" srcId="{5385599B-8AAE-4B31-B63C-CFCBA2A62BC6}" destId="{BDCA29E9-960B-4AF1-BCB5-24B385E10194}" srcOrd="10" destOrd="0" presId="urn:microsoft.com/office/officeart/2005/8/layout/vList6"/>
    <dgm:cxn modelId="{8CAABE89-0AE6-4355-9386-74729786FD29}" type="presParOf" srcId="{BDCA29E9-960B-4AF1-BCB5-24B385E10194}" destId="{2F832CD8-0F67-4587-8830-DBE13C1D1568}" srcOrd="0" destOrd="0" presId="urn:microsoft.com/office/officeart/2005/8/layout/vList6"/>
    <dgm:cxn modelId="{BDB3CBCE-AB06-4858-B255-487277772208}" type="presParOf" srcId="{BDCA29E9-960B-4AF1-BCB5-24B385E10194}" destId="{9E927A6B-25D1-410A-86CD-77ABBB58FF20}" srcOrd="1" destOrd="0" presId="urn:microsoft.com/office/officeart/2005/8/layout/vList6"/>
    <dgm:cxn modelId="{DC005DD9-9D5C-4CE4-9A21-A5B4C8AA9EB3}" type="presParOf" srcId="{5385599B-8AAE-4B31-B63C-CFCBA2A62BC6}" destId="{F1583BE7-47D1-4C9D-895D-FB49B77FC9F5}" srcOrd="11" destOrd="0" presId="urn:microsoft.com/office/officeart/2005/8/layout/vList6"/>
    <dgm:cxn modelId="{FD7FAC39-0590-47CB-A98E-AE029E49D985}" type="presParOf" srcId="{5385599B-8AAE-4B31-B63C-CFCBA2A62BC6}" destId="{1C4E9613-B408-4493-81BA-DFF6247013C6}" srcOrd="12" destOrd="0" presId="urn:microsoft.com/office/officeart/2005/8/layout/vList6"/>
    <dgm:cxn modelId="{3BBD702E-16BD-4824-AE76-CE0A3499C312}" type="presParOf" srcId="{1C4E9613-B408-4493-81BA-DFF6247013C6}" destId="{7ECF98D0-1E11-4C07-8F10-4DCFF4287081}" srcOrd="0" destOrd="0" presId="urn:microsoft.com/office/officeart/2005/8/layout/vList6"/>
    <dgm:cxn modelId="{06A997FE-6CE3-4C9E-B093-F076C0894A23}" type="presParOf" srcId="{1C4E9613-B408-4493-81BA-DFF6247013C6}" destId="{0B04CA0F-CECF-4155-8C51-3EE166242C63}" srcOrd="1" destOrd="0" presId="urn:microsoft.com/office/officeart/2005/8/layout/vList6"/>
    <dgm:cxn modelId="{F93D7DC6-D77D-47C4-812E-3F5F45EFCDC5}" type="presParOf" srcId="{5385599B-8AAE-4B31-B63C-CFCBA2A62BC6}" destId="{3E12F438-3FF7-4E5B-B94D-BAA7DEC4639B}" srcOrd="13" destOrd="0" presId="urn:microsoft.com/office/officeart/2005/8/layout/vList6"/>
    <dgm:cxn modelId="{60DB6A97-8818-4606-A5B4-4B46E72E5E77}" type="presParOf" srcId="{5385599B-8AAE-4B31-B63C-CFCBA2A62BC6}" destId="{1BBC461E-35F6-4123-9C7E-2E1976640A4C}" srcOrd="14" destOrd="0" presId="urn:microsoft.com/office/officeart/2005/8/layout/vList6"/>
    <dgm:cxn modelId="{FF4C4F5E-A9AC-4A7B-A17C-F1B54B21867C}" type="presParOf" srcId="{1BBC461E-35F6-4123-9C7E-2E1976640A4C}" destId="{9E5D63AA-DFE5-4C55-BA33-B74BA9097F51}" srcOrd="0" destOrd="0" presId="urn:microsoft.com/office/officeart/2005/8/layout/vList6"/>
    <dgm:cxn modelId="{1D004C22-0EE8-485A-A217-02E70C221044}" type="presParOf" srcId="{1BBC461E-35F6-4123-9C7E-2E1976640A4C}" destId="{573823A5-9727-4D53-B347-2BE301AEC629}" srcOrd="1" destOrd="0" presId="urn:microsoft.com/office/officeart/2005/8/layout/vList6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8162ADB-EF7E-4CBF-8A8F-AD80137F11C8}">
      <dsp:nvSpPr>
        <dsp:cNvPr id="0" name=""/>
        <dsp:cNvSpPr/>
      </dsp:nvSpPr>
      <dsp:spPr>
        <a:xfrm>
          <a:off x="4611493" y="1467812"/>
          <a:ext cx="3621142" cy="57444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91467"/>
              </a:lnTo>
              <a:lnTo>
                <a:pt x="3621142" y="391467"/>
              </a:lnTo>
              <a:lnTo>
                <a:pt x="3621142" y="574444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7D235D0-4880-4A89-BDB3-F0FB8586E29B}">
      <dsp:nvSpPr>
        <dsp:cNvPr id="0" name=""/>
        <dsp:cNvSpPr/>
      </dsp:nvSpPr>
      <dsp:spPr>
        <a:xfrm>
          <a:off x="4611493" y="1467812"/>
          <a:ext cx="1207047" cy="57444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91467"/>
              </a:lnTo>
              <a:lnTo>
                <a:pt x="1207047" y="391467"/>
              </a:lnTo>
              <a:lnTo>
                <a:pt x="1207047" y="574444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567679C-D3D8-4963-9924-BD2298E3ED60}">
      <dsp:nvSpPr>
        <dsp:cNvPr id="0" name=""/>
        <dsp:cNvSpPr/>
      </dsp:nvSpPr>
      <dsp:spPr>
        <a:xfrm>
          <a:off x="3404445" y="1467812"/>
          <a:ext cx="1207047" cy="574444"/>
        </a:xfrm>
        <a:custGeom>
          <a:avLst/>
          <a:gdLst/>
          <a:ahLst/>
          <a:cxnLst/>
          <a:rect l="0" t="0" r="0" b="0"/>
          <a:pathLst>
            <a:path>
              <a:moveTo>
                <a:pt x="1207047" y="0"/>
              </a:moveTo>
              <a:lnTo>
                <a:pt x="1207047" y="391467"/>
              </a:lnTo>
              <a:lnTo>
                <a:pt x="0" y="391467"/>
              </a:lnTo>
              <a:lnTo>
                <a:pt x="0" y="574444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52DE55E-FF6E-4DD7-943F-9A334BB4A00C}">
      <dsp:nvSpPr>
        <dsp:cNvPr id="0" name=""/>
        <dsp:cNvSpPr/>
      </dsp:nvSpPr>
      <dsp:spPr>
        <a:xfrm>
          <a:off x="990350" y="1467812"/>
          <a:ext cx="3621142" cy="574444"/>
        </a:xfrm>
        <a:custGeom>
          <a:avLst/>
          <a:gdLst/>
          <a:ahLst/>
          <a:cxnLst/>
          <a:rect l="0" t="0" r="0" b="0"/>
          <a:pathLst>
            <a:path>
              <a:moveTo>
                <a:pt x="3621142" y="0"/>
              </a:moveTo>
              <a:lnTo>
                <a:pt x="3621142" y="391467"/>
              </a:lnTo>
              <a:lnTo>
                <a:pt x="0" y="391467"/>
              </a:lnTo>
              <a:lnTo>
                <a:pt x="0" y="574444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ECABF95-FA5C-4A1E-A125-6AEA5BEFA330}">
      <dsp:nvSpPr>
        <dsp:cNvPr id="0" name=""/>
        <dsp:cNvSpPr/>
      </dsp:nvSpPr>
      <dsp:spPr>
        <a:xfrm>
          <a:off x="3623909" y="213580"/>
          <a:ext cx="1975168" cy="1254232"/>
        </a:xfrm>
        <a:prstGeom prst="roundRect">
          <a:avLst>
            <a:gd name="adj" fmla="val 10000"/>
          </a:avLst>
        </a:prstGeom>
        <a:solidFill>
          <a:srgbClr val="D5F4FF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7751300-E3ED-4C3E-85FF-F5BB24A30A55}">
      <dsp:nvSpPr>
        <dsp:cNvPr id="0" name=""/>
        <dsp:cNvSpPr/>
      </dsp:nvSpPr>
      <dsp:spPr>
        <a:xfrm>
          <a:off x="3843372" y="422070"/>
          <a:ext cx="1975168" cy="1254232"/>
        </a:xfrm>
        <a:prstGeom prst="roundRect">
          <a:avLst>
            <a:gd name="adj" fmla="val 10000"/>
          </a:avLst>
        </a:prstGeom>
        <a:solidFill>
          <a:srgbClr val="002060">
            <a:alpha val="90000"/>
          </a:srgb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1" kern="1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rPr>
            <a:t>Steering Committee</a:t>
          </a:r>
        </a:p>
      </dsp:txBody>
      <dsp:txXfrm>
        <a:off x="3880107" y="458805"/>
        <a:ext cx="1901698" cy="1180762"/>
      </dsp:txXfrm>
    </dsp:sp>
    <dsp:sp modelId="{B2272F23-3F9D-49BE-A15C-8313ADE38E3D}">
      <dsp:nvSpPr>
        <dsp:cNvPr id="0" name=""/>
        <dsp:cNvSpPr/>
      </dsp:nvSpPr>
      <dsp:spPr>
        <a:xfrm>
          <a:off x="2766" y="2042257"/>
          <a:ext cx="1975168" cy="1254232"/>
        </a:xfrm>
        <a:prstGeom prst="roundRect">
          <a:avLst>
            <a:gd name="adj" fmla="val 10000"/>
          </a:avLst>
        </a:prstGeom>
        <a:solidFill>
          <a:srgbClr val="D5F4FF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36910C7-B778-4BAC-B83B-64CB2C591158}">
      <dsp:nvSpPr>
        <dsp:cNvPr id="0" name=""/>
        <dsp:cNvSpPr/>
      </dsp:nvSpPr>
      <dsp:spPr>
        <a:xfrm>
          <a:off x="222229" y="2250747"/>
          <a:ext cx="1975168" cy="125423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dirty="0">
              <a:solidFill>
                <a:srgbClr val="002060"/>
              </a:solidFill>
              <a:latin typeface="Verdana" panose="020B0604030504040204" pitchFamily="34" charset="0"/>
              <a:ea typeface="Verdana" panose="020B0604030504040204" pitchFamily="34" charset="0"/>
            </a:rPr>
            <a:t>Design Team 1 </a:t>
          </a:r>
        </a:p>
      </dsp:txBody>
      <dsp:txXfrm>
        <a:off x="258964" y="2287482"/>
        <a:ext cx="1901698" cy="1180762"/>
      </dsp:txXfrm>
    </dsp:sp>
    <dsp:sp modelId="{E9F1B1CE-4204-4A8C-967F-E6BC0A01F930}">
      <dsp:nvSpPr>
        <dsp:cNvPr id="0" name=""/>
        <dsp:cNvSpPr/>
      </dsp:nvSpPr>
      <dsp:spPr>
        <a:xfrm>
          <a:off x="2416861" y="2042257"/>
          <a:ext cx="1975168" cy="1254232"/>
        </a:xfrm>
        <a:prstGeom prst="roundRect">
          <a:avLst>
            <a:gd name="adj" fmla="val 10000"/>
          </a:avLst>
        </a:prstGeom>
        <a:solidFill>
          <a:srgbClr val="D5F4FF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60F7A54-D332-4760-80BF-D3EA417485DE}">
      <dsp:nvSpPr>
        <dsp:cNvPr id="0" name=""/>
        <dsp:cNvSpPr/>
      </dsp:nvSpPr>
      <dsp:spPr>
        <a:xfrm>
          <a:off x="2636324" y="2250747"/>
          <a:ext cx="1975168" cy="125423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dirty="0">
              <a:solidFill>
                <a:srgbClr val="002060"/>
              </a:solidFill>
              <a:latin typeface="Verdana" panose="020B0604030504040204" pitchFamily="34" charset="0"/>
              <a:ea typeface="Verdana" panose="020B0604030504040204" pitchFamily="34" charset="0"/>
            </a:rPr>
            <a:t>Design Team 2</a:t>
          </a:r>
        </a:p>
      </dsp:txBody>
      <dsp:txXfrm>
        <a:off x="2673059" y="2287482"/>
        <a:ext cx="1901698" cy="1180762"/>
      </dsp:txXfrm>
    </dsp:sp>
    <dsp:sp modelId="{C3A80E7D-77D2-4264-AFD5-AB86B3867C55}">
      <dsp:nvSpPr>
        <dsp:cNvPr id="0" name=""/>
        <dsp:cNvSpPr/>
      </dsp:nvSpPr>
      <dsp:spPr>
        <a:xfrm>
          <a:off x="4830956" y="2042257"/>
          <a:ext cx="1975168" cy="1254232"/>
        </a:xfrm>
        <a:prstGeom prst="roundRect">
          <a:avLst>
            <a:gd name="adj" fmla="val 10000"/>
          </a:avLst>
        </a:prstGeom>
        <a:solidFill>
          <a:srgbClr val="D5F4FF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ABC18FC-C98A-43D9-8F9C-975CB125D8EB}">
      <dsp:nvSpPr>
        <dsp:cNvPr id="0" name=""/>
        <dsp:cNvSpPr/>
      </dsp:nvSpPr>
      <dsp:spPr>
        <a:xfrm>
          <a:off x="5050419" y="2250747"/>
          <a:ext cx="1975168" cy="125423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dirty="0">
              <a:solidFill>
                <a:srgbClr val="002060"/>
              </a:solidFill>
              <a:latin typeface="Verdana" panose="020B0604030504040204" pitchFamily="34" charset="0"/>
              <a:ea typeface="Verdana" panose="020B0604030504040204" pitchFamily="34" charset="0"/>
            </a:rPr>
            <a:t>Design Team 3</a:t>
          </a:r>
        </a:p>
      </dsp:txBody>
      <dsp:txXfrm>
        <a:off x="5087154" y="2287482"/>
        <a:ext cx="1901698" cy="1180762"/>
      </dsp:txXfrm>
    </dsp:sp>
    <dsp:sp modelId="{AA8DD5B0-03E0-499B-8157-89B3B1A87C79}">
      <dsp:nvSpPr>
        <dsp:cNvPr id="0" name=""/>
        <dsp:cNvSpPr/>
      </dsp:nvSpPr>
      <dsp:spPr>
        <a:xfrm>
          <a:off x="7245051" y="2042257"/>
          <a:ext cx="1975168" cy="1254232"/>
        </a:xfrm>
        <a:prstGeom prst="roundRect">
          <a:avLst>
            <a:gd name="adj" fmla="val 10000"/>
          </a:avLst>
        </a:prstGeom>
        <a:solidFill>
          <a:srgbClr val="D5F4FF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7721331-7E94-406A-B88A-A13183BB1C2D}">
      <dsp:nvSpPr>
        <dsp:cNvPr id="0" name=""/>
        <dsp:cNvSpPr/>
      </dsp:nvSpPr>
      <dsp:spPr>
        <a:xfrm>
          <a:off x="7464514" y="2250747"/>
          <a:ext cx="1975168" cy="125423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dirty="0">
              <a:solidFill>
                <a:srgbClr val="002060"/>
              </a:solidFill>
              <a:latin typeface="Verdana" panose="020B0604030504040204" pitchFamily="34" charset="0"/>
              <a:ea typeface="Verdana" panose="020B0604030504040204" pitchFamily="34" charset="0"/>
            </a:rPr>
            <a:t>Design Team 4</a:t>
          </a:r>
        </a:p>
      </dsp:txBody>
      <dsp:txXfrm>
        <a:off x="7501249" y="2287482"/>
        <a:ext cx="1901698" cy="118076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8162ADB-EF7E-4CBF-8A8F-AD80137F11C8}">
      <dsp:nvSpPr>
        <dsp:cNvPr id="0" name=""/>
        <dsp:cNvSpPr/>
      </dsp:nvSpPr>
      <dsp:spPr>
        <a:xfrm>
          <a:off x="4611493" y="1467812"/>
          <a:ext cx="3621142" cy="57444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91467"/>
              </a:lnTo>
              <a:lnTo>
                <a:pt x="3621142" y="391467"/>
              </a:lnTo>
              <a:lnTo>
                <a:pt x="3621142" y="574444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7D235D0-4880-4A89-BDB3-F0FB8586E29B}">
      <dsp:nvSpPr>
        <dsp:cNvPr id="0" name=""/>
        <dsp:cNvSpPr/>
      </dsp:nvSpPr>
      <dsp:spPr>
        <a:xfrm>
          <a:off x="4611493" y="1467812"/>
          <a:ext cx="1207047" cy="57444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91467"/>
              </a:lnTo>
              <a:lnTo>
                <a:pt x="1207047" y="391467"/>
              </a:lnTo>
              <a:lnTo>
                <a:pt x="1207047" y="574444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567679C-D3D8-4963-9924-BD2298E3ED60}">
      <dsp:nvSpPr>
        <dsp:cNvPr id="0" name=""/>
        <dsp:cNvSpPr/>
      </dsp:nvSpPr>
      <dsp:spPr>
        <a:xfrm>
          <a:off x="3404445" y="1467812"/>
          <a:ext cx="1207047" cy="574444"/>
        </a:xfrm>
        <a:custGeom>
          <a:avLst/>
          <a:gdLst/>
          <a:ahLst/>
          <a:cxnLst/>
          <a:rect l="0" t="0" r="0" b="0"/>
          <a:pathLst>
            <a:path>
              <a:moveTo>
                <a:pt x="1207047" y="0"/>
              </a:moveTo>
              <a:lnTo>
                <a:pt x="1207047" y="391467"/>
              </a:lnTo>
              <a:lnTo>
                <a:pt x="0" y="391467"/>
              </a:lnTo>
              <a:lnTo>
                <a:pt x="0" y="574444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52DE55E-FF6E-4DD7-943F-9A334BB4A00C}">
      <dsp:nvSpPr>
        <dsp:cNvPr id="0" name=""/>
        <dsp:cNvSpPr/>
      </dsp:nvSpPr>
      <dsp:spPr>
        <a:xfrm>
          <a:off x="990350" y="1467812"/>
          <a:ext cx="3621142" cy="574444"/>
        </a:xfrm>
        <a:custGeom>
          <a:avLst/>
          <a:gdLst/>
          <a:ahLst/>
          <a:cxnLst/>
          <a:rect l="0" t="0" r="0" b="0"/>
          <a:pathLst>
            <a:path>
              <a:moveTo>
                <a:pt x="3621142" y="0"/>
              </a:moveTo>
              <a:lnTo>
                <a:pt x="3621142" y="391467"/>
              </a:lnTo>
              <a:lnTo>
                <a:pt x="0" y="391467"/>
              </a:lnTo>
              <a:lnTo>
                <a:pt x="0" y="574444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ECABF95-FA5C-4A1E-A125-6AEA5BEFA330}">
      <dsp:nvSpPr>
        <dsp:cNvPr id="0" name=""/>
        <dsp:cNvSpPr/>
      </dsp:nvSpPr>
      <dsp:spPr>
        <a:xfrm>
          <a:off x="3623909" y="213580"/>
          <a:ext cx="1975168" cy="1254232"/>
        </a:xfrm>
        <a:prstGeom prst="roundRect">
          <a:avLst>
            <a:gd name="adj" fmla="val 10000"/>
          </a:avLst>
        </a:prstGeom>
        <a:solidFill>
          <a:srgbClr val="D5F4FF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7751300-E3ED-4C3E-85FF-F5BB24A30A55}">
      <dsp:nvSpPr>
        <dsp:cNvPr id="0" name=""/>
        <dsp:cNvSpPr/>
      </dsp:nvSpPr>
      <dsp:spPr>
        <a:xfrm>
          <a:off x="3843372" y="422070"/>
          <a:ext cx="1975168" cy="1254232"/>
        </a:xfrm>
        <a:prstGeom prst="roundRect">
          <a:avLst>
            <a:gd name="adj" fmla="val 10000"/>
          </a:avLst>
        </a:prstGeom>
        <a:solidFill>
          <a:srgbClr val="002060">
            <a:alpha val="90000"/>
          </a:srgb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1" kern="1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rPr>
            <a:t>SPH Steering Committee</a:t>
          </a:r>
        </a:p>
      </dsp:txBody>
      <dsp:txXfrm>
        <a:off x="3880107" y="458805"/>
        <a:ext cx="1901698" cy="1180762"/>
      </dsp:txXfrm>
    </dsp:sp>
    <dsp:sp modelId="{B2272F23-3F9D-49BE-A15C-8313ADE38E3D}">
      <dsp:nvSpPr>
        <dsp:cNvPr id="0" name=""/>
        <dsp:cNvSpPr/>
      </dsp:nvSpPr>
      <dsp:spPr>
        <a:xfrm>
          <a:off x="2766" y="2042257"/>
          <a:ext cx="1975168" cy="1254232"/>
        </a:xfrm>
        <a:prstGeom prst="roundRect">
          <a:avLst>
            <a:gd name="adj" fmla="val 10000"/>
          </a:avLst>
        </a:prstGeom>
        <a:solidFill>
          <a:srgbClr val="D5F4FF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36910C7-B778-4BAC-B83B-64CB2C591158}">
      <dsp:nvSpPr>
        <dsp:cNvPr id="0" name=""/>
        <dsp:cNvSpPr/>
      </dsp:nvSpPr>
      <dsp:spPr>
        <a:xfrm>
          <a:off x="222229" y="2250747"/>
          <a:ext cx="1975168" cy="125423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>
              <a:solidFill>
                <a:srgbClr val="002060"/>
              </a:solidFill>
              <a:latin typeface="Verdana" panose="020B0604030504040204" pitchFamily="34" charset="0"/>
              <a:ea typeface="Verdana" panose="020B0604030504040204" pitchFamily="34" charset="0"/>
            </a:rPr>
            <a:t>Infrastructure </a:t>
          </a:r>
        </a:p>
      </dsp:txBody>
      <dsp:txXfrm>
        <a:off x="258964" y="2287482"/>
        <a:ext cx="1901698" cy="1180762"/>
      </dsp:txXfrm>
    </dsp:sp>
    <dsp:sp modelId="{E9F1B1CE-4204-4A8C-967F-E6BC0A01F930}">
      <dsp:nvSpPr>
        <dsp:cNvPr id="0" name=""/>
        <dsp:cNvSpPr/>
      </dsp:nvSpPr>
      <dsp:spPr>
        <a:xfrm>
          <a:off x="2416861" y="2042257"/>
          <a:ext cx="1975168" cy="1254232"/>
        </a:xfrm>
        <a:prstGeom prst="roundRect">
          <a:avLst>
            <a:gd name="adj" fmla="val 10000"/>
          </a:avLst>
        </a:prstGeom>
        <a:solidFill>
          <a:srgbClr val="D5F4FF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60F7A54-D332-4760-80BF-D3EA417485DE}">
      <dsp:nvSpPr>
        <dsp:cNvPr id="0" name=""/>
        <dsp:cNvSpPr/>
      </dsp:nvSpPr>
      <dsp:spPr>
        <a:xfrm>
          <a:off x="2636324" y="2250747"/>
          <a:ext cx="1975168" cy="125423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>
              <a:solidFill>
                <a:srgbClr val="002060"/>
              </a:solidFill>
              <a:latin typeface="Verdana" panose="020B0604030504040204" pitchFamily="34" charset="0"/>
              <a:ea typeface="Verdana" panose="020B0604030504040204" pitchFamily="34" charset="0"/>
            </a:rPr>
            <a:t>Education</a:t>
          </a:r>
        </a:p>
      </dsp:txBody>
      <dsp:txXfrm>
        <a:off x="2673059" y="2287482"/>
        <a:ext cx="1901698" cy="1180762"/>
      </dsp:txXfrm>
    </dsp:sp>
    <dsp:sp modelId="{C3A80E7D-77D2-4264-AFD5-AB86B3867C55}">
      <dsp:nvSpPr>
        <dsp:cNvPr id="0" name=""/>
        <dsp:cNvSpPr/>
      </dsp:nvSpPr>
      <dsp:spPr>
        <a:xfrm>
          <a:off x="4830956" y="2042257"/>
          <a:ext cx="1975168" cy="1254232"/>
        </a:xfrm>
        <a:prstGeom prst="roundRect">
          <a:avLst>
            <a:gd name="adj" fmla="val 10000"/>
          </a:avLst>
        </a:prstGeom>
        <a:solidFill>
          <a:srgbClr val="D5F4FF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ABC18FC-C98A-43D9-8F9C-975CB125D8EB}">
      <dsp:nvSpPr>
        <dsp:cNvPr id="0" name=""/>
        <dsp:cNvSpPr/>
      </dsp:nvSpPr>
      <dsp:spPr>
        <a:xfrm>
          <a:off x="5050419" y="2250747"/>
          <a:ext cx="1975168" cy="125423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>
              <a:solidFill>
                <a:srgbClr val="002060"/>
              </a:solidFill>
              <a:latin typeface="Verdana" panose="020B0604030504040204" pitchFamily="34" charset="0"/>
              <a:ea typeface="Verdana" panose="020B0604030504040204" pitchFamily="34" charset="0"/>
            </a:rPr>
            <a:t>Injury Reporting</a:t>
          </a:r>
        </a:p>
      </dsp:txBody>
      <dsp:txXfrm>
        <a:off x="5087154" y="2287482"/>
        <a:ext cx="1901698" cy="1180762"/>
      </dsp:txXfrm>
    </dsp:sp>
    <dsp:sp modelId="{AA8DD5B0-03E0-499B-8157-89B3B1A87C79}">
      <dsp:nvSpPr>
        <dsp:cNvPr id="0" name=""/>
        <dsp:cNvSpPr/>
      </dsp:nvSpPr>
      <dsp:spPr>
        <a:xfrm>
          <a:off x="7245051" y="2042257"/>
          <a:ext cx="1975168" cy="1254232"/>
        </a:xfrm>
        <a:prstGeom prst="roundRect">
          <a:avLst>
            <a:gd name="adj" fmla="val 10000"/>
          </a:avLst>
        </a:prstGeom>
        <a:solidFill>
          <a:srgbClr val="D5F4FF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7721331-7E94-406A-B88A-A13183BB1C2D}">
      <dsp:nvSpPr>
        <dsp:cNvPr id="0" name=""/>
        <dsp:cNvSpPr/>
      </dsp:nvSpPr>
      <dsp:spPr>
        <a:xfrm>
          <a:off x="7464514" y="2250747"/>
          <a:ext cx="1975168" cy="125423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>
              <a:solidFill>
                <a:srgbClr val="002060"/>
              </a:solidFill>
              <a:latin typeface="Verdana" panose="020B0604030504040204" pitchFamily="34" charset="0"/>
              <a:ea typeface="Verdana" panose="020B0604030504040204" pitchFamily="34" charset="0"/>
            </a:rPr>
            <a:t>Mobility Assessment Workflow</a:t>
          </a:r>
        </a:p>
      </dsp:txBody>
      <dsp:txXfrm>
        <a:off x="7501249" y="2287482"/>
        <a:ext cx="1901698" cy="1180762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52DE55E-FF6E-4DD7-943F-9A334BB4A00C}">
      <dsp:nvSpPr>
        <dsp:cNvPr id="0" name=""/>
        <dsp:cNvSpPr/>
      </dsp:nvSpPr>
      <dsp:spPr>
        <a:xfrm>
          <a:off x="4551711" y="1417645"/>
          <a:ext cx="91440" cy="648060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64806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ECABF95-FA5C-4A1E-A125-6AEA5BEFA330}">
      <dsp:nvSpPr>
        <dsp:cNvPr id="0" name=""/>
        <dsp:cNvSpPr/>
      </dsp:nvSpPr>
      <dsp:spPr>
        <a:xfrm>
          <a:off x="3483286" y="2681"/>
          <a:ext cx="2228289" cy="1414963"/>
        </a:xfrm>
        <a:prstGeom prst="roundRect">
          <a:avLst>
            <a:gd name="adj" fmla="val 10000"/>
          </a:avLst>
        </a:prstGeom>
        <a:solidFill>
          <a:srgbClr val="D5F4FF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7751300-E3ED-4C3E-85FF-F5BB24A30A55}">
      <dsp:nvSpPr>
        <dsp:cNvPr id="0" name=""/>
        <dsp:cNvSpPr/>
      </dsp:nvSpPr>
      <dsp:spPr>
        <a:xfrm>
          <a:off x="3730874" y="237890"/>
          <a:ext cx="2228289" cy="1414963"/>
        </a:xfrm>
        <a:prstGeom prst="roundRect">
          <a:avLst>
            <a:gd name="adj" fmla="val 10000"/>
          </a:avLst>
        </a:prstGeom>
        <a:solidFill>
          <a:srgbClr val="002060">
            <a:alpha val="90000"/>
          </a:srgb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b="1" kern="1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rPr>
            <a:t>Steering Committee</a:t>
          </a:r>
        </a:p>
      </dsp:txBody>
      <dsp:txXfrm>
        <a:off x="3772317" y="279333"/>
        <a:ext cx="2145403" cy="1332077"/>
      </dsp:txXfrm>
    </dsp:sp>
    <dsp:sp modelId="{B2272F23-3F9D-49BE-A15C-8313ADE38E3D}">
      <dsp:nvSpPr>
        <dsp:cNvPr id="0" name=""/>
        <dsp:cNvSpPr/>
      </dsp:nvSpPr>
      <dsp:spPr>
        <a:xfrm>
          <a:off x="3483286" y="2065706"/>
          <a:ext cx="2228289" cy="1414963"/>
        </a:xfrm>
        <a:prstGeom prst="roundRect">
          <a:avLst>
            <a:gd name="adj" fmla="val 10000"/>
          </a:avLst>
        </a:prstGeom>
        <a:solidFill>
          <a:srgbClr val="D5F4FF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36910C7-B778-4BAC-B83B-64CB2C591158}">
      <dsp:nvSpPr>
        <dsp:cNvPr id="0" name=""/>
        <dsp:cNvSpPr/>
      </dsp:nvSpPr>
      <dsp:spPr>
        <a:xfrm>
          <a:off x="3730874" y="2300914"/>
          <a:ext cx="2228289" cy="141496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 dirty="0">
              <a:solidFill>
                <a:srgbClr val="002060"/>
              </a:solidFill>
              <a:latin typeface="Verdana" panose="020B0604030504040204" pitchFamily="34" charset="0"/>
              <a:ea typeface="Verdana" panose="020B0604030504040204" pitchFamily="34" charset="0"/>
            </a:rPr>
            <a:t>Design Team </a:t>
          </a:r>
        </a:p>
      </dsp:txBody>
      <dsp:txXfrm>
        <a:off x="3772317" y="2342357"/>
        <a:ext cx="2145403" cy="1332077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52DE55E-FF6E-4DD7-943F-9A334BB4A00C}">
      <dsp:nvSpPr>
        <dsp:cNvPr id="0" name=""/>
        <dsp:cNvSpPr/>
      </dsp:nvSpPr>
      <dsp:spPr>
        <a:xfrm>
          <a:off x="4551711" y="1417645"/>
          <a:ext cx="91440" cy="648060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64806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ECABF95-FA5C-4A1E-A125-6AEA5BEFA330}">
      <dsp:nvSpPr>
        <dsp:cNvPr id="0" name=""/>
        <dsp:cNvSpPr/>
      </dsp:nvSpPr>
      <dsp:spPr>
        <a:xfrm>
          <a:off x="3483286" y="2681"/>
          <a:ext cx="2228289" cy="1414963"/>
        </a:xfrm>
        <a:prstGeom prst="roundRect">
          <a:avLst>
            <a:gd name="adj" fmla="val 10000"/>
          </a:avLst>
        </a:prstGeom>
        <a:solidFill>
          <a:srgbClr val="D5F4FF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7751300-E3ED-4C3E-85FF-F5BB24A30A55}">
      <dsp:nvSpPr>
        <dsp:cNvPr id="0" name=""/>
        <dsp:cNvSpPr/>
      </dsp:nvSpPr>
      <dsp:spPr>
        <a:xfrm>
          <a:off x="3730874" y="237890"/>
          <a:ext cx="2228289" cy="1414963"/>
        </a:xfrm>
        <a:prstGeom prst="roundRect">
          <a:avLst>
            <a:gd name="adj" fmla="val 10000"/>
          </a:avLst>
        </a:prstGeom>
        <a:solidFill>
          <a:srgbClr val="002060">
            <a:alpha val="90000"/>
          </a:srgb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b="1" kern="1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rPr>
            <a:t>Steering Committee</a:t>
          </a:r>
        </a:p>
      </dsp:txBody>
      <dsp:txXfrm>
        <a:off x="3772317" y="279333"/>
        <a:ext cx="2145403" cy="1332077"/>
      </dsp:txXfrm>
    </dsp:sp>
    <dsp:sp modelId="{B2272F23-3F9D-49BE-A15C-8313ADE38E3D}">
      <dsp:nvSpPr>
        <dsp:cNvPr id="0" name=""/>
        <dsp:cNvSpPr/>
      </dsp:nvSpPr>
      <dsp:spPr>
        <a:xfrm>
          <a:off x="3483286" y="2065706"/>
          <a:ext cx="2228289" cy="1414963"/>
        </a:xfrm>
        <a:prstGeom prst="roundRect">
          <a:avLst>
            <a:gd name="adj" fmla="val 10000"/>
          </a:avLst>
        </a:prstGeom>
        <a:solidFill>
          <a:srgbClr val="D5F4FF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36910C7-B778-4BAC-B83B-64CB2C591158}">
      <dsp:nvSpPr>
        <dsp:cNvPr id="0" name=""/>
        <dsp:cNvSpPr/>
      </dsp:nvSpPr>
      <dsp:spPr>
        <a:xfrm>
          <a:off x="3730874" y="2300914"/>
          <a:ext cx="2228289" cy="141496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 dirty="0">
              <a:solidFill>
                <a:srgbClr val="002060"/>
              </a:solidFill>
              <a:latin typeface="Verdana" panose="020B0604030504040204" pitchFamily="34" charset="0"/>
              <a:ea typeface="Verdana" panose="020B0604030504040204" pitchFamily="34" charset="0"/>
            </a:rPr>
            <a:t>Design Team </a:t>
          </a:r>
        </a:p>
      </dsp:txBody>
      <dsp:txXfrm>
        <a:off x="3772317" y="2342357"/>
        <a:ext cx="2145403" cy="1332077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B7BE5D1-FF81-453E-8E43-1296E6B0AB92}">
      <dsp:nvSpPr>
        <dsp:cNvPr id="0" name=""/>
        <dsp:cNvSpPr/>
      </dsp:nvSpPr>
      <dsp:spPr>
        <a:xfrm>
          <a:off x="3537818" y="1828"/>
          <a:ext cx="715721" cy="649210"/>
        </a:xfrm>
        <a:prstGeom prst="rightArrow">
          <a:avLst>
            <a:gd name="adj1" fmla="val 75000"/>
            <a:gd name="adj2" fmla="val 50000"/>
          </a:avLst>
        </a:prstGeom>
        <a:solidFill>
          <a:srgbClr val="0070C0">
            <a:alpha val="90000"/>
          </a:srgbClr>
        </a:solidFill>
        <a:ln w="28575" cap="flat" cmpd="sng" algn="ctr">
          <a:solidFill>
            <a:srgbClr val="00B0F0">
              <a:alpha val="9000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98DE6D1-A676-4F24-8F9E-0895D213AEC6}">
      <dsp:nvSpPr>
        <dsp:cNvPr id="0" name=""/>
        <dsp:cNvSpPr/>
      </dsp:nvSpPr>
      <dsp:spPr>
        <a:xfrm>
          <a:off x="2548" y="49178"/>
          <a:ext cx="3535270" cy="554509"/>
        </a:xfrm>
        <a:prstGeom prst="roundRect">
          <a:avLst/>
        </a:prstGeom>
        <a:solidFill>
          <a:srgbClr val="D5F4FF"/>
        </a:solidFill>
        <a:ln w="19050" cap="flat" cmpd="sng" algn="ctr">
          <a:solidFill>
            <a:srgbClr val="0070C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 dirty="0">
            <a:solidFill>
              <a:srgbClr val="5B9BD5">
                <a:lumMod val="50000"/>
              </a:srgbClr>
            </a:solidFill>
            <a:latin typeface="Verdana" panose="020B0604030504040204" pitchFamily="34" charset="0"/>
            <a:ea typeface="Verdana" panose="020B0604030504040204" pitchFamily="34" charset="0"/>
            <a:cs typeface="+mn-cs"/>
          </a:endParaRPr>
        </a:p>
      </dsp:txBody>
      <dsp:txXfrm>
        <a:off x="29617" y="76247"/>
        <a:ext cx="3481132" cy="500371"/>
      </dsp:txXfrm>
    </dsp:sp>
    <dsp:sp modelId="{F10F09BA-63EE-49D4-8583-D1D64B7DE6B0}">
      <dsp:nvSpPr>
        <dsp:cNvPr id="0" name=""/>
        <dsp:cNvSpPr/>
      </dsp:nvSpPr>
      <dsp:spPr>
        <a:xfrm>
          <a:off x="3511110" y="715959"/>
          <a:ext cx="743152" cy="649210"/>
        </a:xfrm>
        <a:prstGeom prst="rightArrow">
          <a:avLst>
            <a:gd name="adj1" fmla="val 75000"/>
            <a:gd name="adj2" fmla="val 50000"/>
          </a:avLst>
        </a:prstGeom>
        <a:solidFill>
          <a:srgbClr val="0070C0">
            <a:alpha val="90000"/>
          </a:srgbClr>
        </a:solidFill>
        <a:ln w="28575" cap="flat" cmpd="sng" algn="ctr">
          <a:solidFill>
            <a:srgbClr val="00B0F0">
              <a:alpha val="9000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A5ABA96-16C1-4309-9D0B-FC4529012D9D}">
      <dsp:nvSpPr>
        <dsp:cNvPr id="0" name=""/>
        <dsp:cNvSpPr/>
      </dsp:nvSpPr>
      <dsp:spPr>
        <a:xfrm>
          <a:off x="1824" y="715959"/>
          <a:ext cx="3509286" cy="649210"/>
        </a:xfrm>
        <a:prstGeom prst="roundRect">
          <a:avLst/>
        </a:prstGeom>
        <a:solidFill>
          <a:srgbClr val="D5F4FF"/>
        </a:solidFill>
        <a:ln w="19050" cap="flat" cmpd="sng" algn="ctr">
          <a:solidFill>
            <a:srgbClr val="0070C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 dirty="0">
            <a:solidFill>
              <a:srgbClr val="5B9BD5">
                <a:lumMod val="50000"/>
              </a:srgbClr>
            </a:solidFill>
            <a:latin typeface="Verdana" panose="020B0604030504040204" pitchFamily="34" charset="0"/>
            <a:ea typeface="Verdana" panose="020B0604030504040204" pitchFamily="34" charset="0"/>
            <a:cs typeface="+mn-cs"/>
          </a:endParaRPr>
        </a:p>
      </dsp:txBody>
      <dsp:txXfrm>
        <a:off x="33516" y="747651"/>
        <a:ext cx="3445902" cy="585826"/>
      </dsp:txXfrm>
    </dsp:sp>
    <dsp:sp modelId="{C7F6A13B-6E07-43FC-B294-B3A49875C593}">
      <dsp:nvSpPr>
        <dsp:cNvPr id="0" name=""/>
        <dsp:cNvSpPr/>
      </dsp:nvSpPr>
      <dsp:spPr>
        <a:xfrm>
          <a:off x="3463913" y="1430090"/>
          <a:ext cx="790535" cy="649210"/>
        </a:xfrm>
        <a:prstGeom prst="rightArrow">
          <a:avLst>
            <a:gd name="adj1" fmla="val 75000"/>
            <a:gd name="adj2" fmla="val 50000"/>
          </a:avLst>
        </a:prstGeom>
        <a:solidFill>
          <a:srgbClr val="0070C0"/>
        </a:solidFill>
        <a:ln w="28575" cap="flat" cmpd="sng" algn="ctr">
          <a:solidFill>
            <a:srgbClr val="00B0F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7D10114-EAFA-4CAD-A1BA-604268447782}">
      <dsp:nvSpPr>
        <dsp:cNvPr id="0" name=""/>
        <dsp:cNvSpPr/>
      </dsp:nvSpPr>
      <dsp:spPr>
        <a:xfrm>
          <a:off x="1638" y="1430090"/>
          <a:ext cx="3462274" cy="649210"/>
        </a:xfrm>
        <a:prstGeom prst="roundRect">
          <a:avLst/>
        </a:prstGeom>
        <a:solidFill>
          <a:srgbClr val="D5F4FF"/>
        </a:solidFill>
        <a:ln w="19050" cap="flat" cmpd="sng" algn="ctr">
          <a:solidFill>
            <a:srgbClr val="0070C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 dirty="0">
            <a:solidFill>
              <a:srgbClr val="5B9BD5">
                <a:lumMod val="50000"/>
              </a:srgbClr>
            </a:solidFill>
            <a:latin typeface="Verdana" panose="020B0604030504040204" pitchFamily="34" charset="0"/>
            <a:ea typeface="Verdana" panose="020B0604030504040204" pitchFamily="34" charset="0"/>
            <a:cs typeface="+mn-cs"/>
          </a:endParaRPr>
        </a:p>
      </dsp:txBody>
      <dsp:txXfrm>
        <a:off x="33330" y="1461782"/>
        <a:ext cx="3398890" cy="585826"/>
      </dsp:txXfrm>
    </dsp:sp>
    <dsp:sp modelId="{46D57D0A-FC3F-4692-86D4-37391298CFEC}">
      <dsp:nvSpPr>
        <dsp:cNvPr id="0" name=""/>
        <dsp:cNvSpPr/>
      </dsp:nvSpPr>
      <dsp:spPr>
        <a:xfrm>
          <a:off x="3444488" y="2144221"/>
          <a:ext cx="810485" cy="649210"/>
        </a:xfrm>
        <a:prstGeom prst="rightArrow">
          <a:avLst>
            <a:gd name="adj1" fmla="val 75000"/>
            <a:gd name="adj2" fmla="val 50000"/>
          </a:avLst>
        </a:prstGeom>
        <a:solidFill>
          <a:srgbClr val="0070C0"/>
        </a:solidFill>
        <a:ln w="28575" cap="flat" cmpd="sng" algn="ctr">
          <a:solidFill>
            <a:srgbClr val="00B0F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E02108A-BC5C-4A71-A11B-CE732CEB7EC4}">
      <dsp:nvSpPr>
        <dsp:cNvPr id="0" name=""/>
        <dsp:cNvSpPr/>
      </dsp:nvSpPr>
      <dsp:spPr>
        <a:xfrm>
          <a:off x="1113" y="2144221"/>
          <a:ext cx="3443374" cy="649210"/>
        </a:xfrm>
        <a:prstGeom prst="roundRect">
          <a:avLst/>
        </a:prstGeom>
        <a:solidFill>
          <a:srgbClr val="D5F4FF"/>
        </a:solidFill>
        <a:ln w="19050" cap="flat" cmpd="sng" algn="ctr">
          <a:solidFill>
            <a:srgbClr val="0070C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 dirty="0">
            <a:solidFill>
              <a:srgbClr val="5B9BD5">
                <a:lumMod val="50000"/>
              </a:srgbClr>
            </a:solidFill>
            <a:latin typeface="Verdana" panose="020B0604030504040204" pitchFamily="34" charset="0"/>
            <a:ea typeface="Verdana" panose="020B0604030504040204" pitchFamily="34" charset="0"/>
            <a:cs typeface="+mn-cs"/>
          </a:endParaRPr>
        </a:p>
      </dsp:txBody>
      <dsp:txXfrm>
        <a:off x="32805" y="2175913"/>
        <a:ext cx="3379990" cy="585826"/>
      </dsp:txXfrm>
    </dsp:sp>
    <dsp:sp modelId="{9D22B3BB-A1E6-49B5-87BE-1A7F8ABCCDBD}">
      <dsp:nvSpPr>
        <dsp:cNvPr id="0" name=""/>
        <dsp:cNvSpPr/>
      </dsp:nvSpPr>
      <dsp:spPr>
        <a:xfrm>
          <a:off x="3392460" y="2858352"/>
          <a:ext cx="862855" cy="649210"/>
        </a:xfrm>
        <a:prstGeom prst="rightArrow">
          <a:avLst>
            <a:gd name="adj1" fmla="val 75000"/>
            <a:gd name="adj2" fmla="val 50000"/>
          </a:avLst>
        </a:prstGeom>
        <a:solidFill>
          <a:srgbClr val="0070C0"/>
        </a:solidFill>
        <a:ln w="28575" cap="flat" cmpd="sng" algn="ctr">
          <a:solidFill>
            <a:srgbClr val="00B0F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AB59920-FA1F-4568-98FC-4D079DD5B12D}">
      <dsp:nvSpPr>
        <dsp:cNvPr id="0" name=""/>
        <dsp:cNvSpPr/>
      </dsp:nvSpPr>
      <dsp:spPr>
        <a:xfrm>
          <a:off x="771" y="2858352"/>
          <a:ext cx="3391688" cy="649210"/>
        </a:xfrm>
        <a:prstGeom prst="roundRect">
          <a:avLst/>
        </a:prstGeom>
        <a:solidFill>
          <a:srgbClr val="D5F4FF"/>
        </a:solidFill>
        <a:ln w="19050" cap="flat" cmpd="sng" algn="ctr">
          <a:solidFill>
            <a:srgbClr val="0070C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 dirty="0">
            <a:solidFill>
              <a:srgbClr val="5B9BD5">
                <a:lumMod val="50000"/>
              </a:srgbClr>
            </a:solidFill>
            <a:latin typeface="Verdana" panose="020B0604030504040204" pitchFamily="34" charset="0"/>
            <a:ea typeface="Verdana" panose="020B0604030504040204" pitchFamily="34" charset="0"/>
            <a:cs typeface="+mn-cs"/>
          </a:endParaRPr>
        </a:p>
      </dsp:txBody>
      <dsp:txXfrm>
        <a:off x="32463" y="2890044"/>
        <a:ext cx="3328304" cy="585826"/>
      </dsp:txXfrm>
    </dsp:sp>
    <dsp:sp modelId="{9E927A6B-25D1-410A-86CD-77ABBB58FF20}">
      <dsp:nvSpPr>
        <dsp:cNvPr id="0" name=""/>
        <dsp:cNvSpPr/>
      </dsp:nvSpPr>
      <dsp:spPr>
        <a:xfrm>
          <a:off x="3408832" y="3572483"/>
          <a:ext cx="846645" cy="649210"/>
        </a:xfrm>
        <a:prstGeom prst="rightArrow">
          <a:avLst>
            <a:gd name="adj1" fmla="val 75000"/>
            <a:gd name="adj2" fmla="val 50000"/>
          </a:avLst>
        </a:prstGeom>
        <a:solidFill>
          <a:srgbClr val="0070C0"/>
        </a:solidFill>
        <a:ln w="28575" cap="flat" cmpd="sng" algn="ctr">
          <a:solidFill>
            <a:srgbClr val="00B0F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F832CD8-0F67-4587-8830-DBE13C1D1568}">
      <dsp:nvSpPr>
        <dsp:cNvPr id="0" name=""/>
        <dsp:cNvSpPr/>
      </dsp:nvSpPr>
      <dsp:spPr>
        <a:xfrm>
          <a:off x="609" y="3572483"/>
          <a:ext cx="3408222" cy="649210"/>
        </a:xfrm>
        <a:prstGeom prst="roundRect">
          <a:avLst/>
        </a:prstGeom>
        <a:solidFill>
          <a:srgbClr val="D5F4FF"/>
        </a:solidFill>
        <a:ln w="19050" cap="flat" cmpd="sng" algn="ctr">
          <a:solidFill>
            <a:srgbClr val="0070C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 dirty="0">
            <a:solidFill>
              <a:srgbClr val="5B9BD5">
                <a:lumMod val="50000"/>
              </a:srgbClr>
            </a:solidFill>
            <a:latin typeface="Verdana" panose="020B0604030504040204" pitchFamily="34" charset="0"/>
            <a:ea typeface="Verdana" panose="020B0604030504040204" pitchFamily="34" charset="0"/>
            <a:cs typeface="+mn-cs"/>
          </a:endParaRPr>
        </a:p>
      </dsp:txBody>
      <dsp:txXfrm>
        <a:off x="32301" y="3604175"/>
        <a:ext cx="3344838" cy="585826"/>
      </dsp:txXfrm>
    </dsp:sp>
    <dsp:sp modelId="{0B04CA0F-CECF-4155-8C51-3EE166242C63}">
      <dsp:nvSpPr>
        <dsp:cNvPr id="0" name=""/>
        <dsp:cNvSpPr/>
      </dsp:nvSpPr>
      <dsp:spPr>
        <a:xfrm>
          <a:off x="3417397" y="4286614"/>
          <a:ext cx="836670" cy="649210"/>
        </a:xfrm>
        <a:prstGeom prst="rightArrow">
          <a:avLst>
            <a:gd name="adj1" fmla="val 75000"/>
            <a:gd name="adj2" fmla="val 50000"/>
          </a:avLst>
        </a:prstGeom>
        <a:solidFill>
          <a:srgbClr val="0070C0"/>
        </a:solidFill>
        <a:ln w="12700" cap="flat" cmpd="sng" algn="ctr">
          <a:solidFill>
            <a:srgbClr val="00B0F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ECF98D0-1E11-4C07-8F10-4DCFF4287081}">
      <dsp:nvSpPr>
        <dsp:cNvPr id="0" name=""/>
        <dsp:cNvSpPr/>
      </dsp:nvSpPr>
      <dsp:spPr>
        <a:xfrm>
          <a:off x="2019" y="4286614"/>
          <a:ext cx="3415377" cy="649210"/>
        </a:xfrm>
        <a:prstGeom prst="roundRect">
          <a:avLst/>
        </a:prstGeom>
        <a:solidFill>
          <a:srgbClr val="D5F4FF"/>
        </a:solidFill>
        <a:ln w="19050" cap="flat" cmpd="sng" algn="ctr">
          <a:solidFill>
            <a:srgbClr val="0070C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 dirty="0">
            <a:solidFill>
              <a:srgbClr val="5B9BD5">
                <a:lumMod val="50000"/>
              </a:srgbClr>
            </a:solidFill>
            <a:latin typeface="Verdana" panose="020B0604030504040204" pitchFamily="34" charset="0"/>
            <a:ea typeface="Verdana" panose="020B0604030504040204" pitchFamily="34" charset="0"/>
            <a:cs typeface="+mn-cs"/>
          </a:endParaRPr>
        </a:p>
      </dsp:txBody>
      <dsp:txXfrm>
        <a:off x="33711" y="4318306"/>
        <a:ext cx="3351993" cy="585826"/>
      </dsp:txXfrm>
    </dsp:sp>
    <dsp:sp modelId="{573823A5-9727-4D53-B347-2BE301AEC629}">
      <dsp:nvSpPr>
        <dsp:cNvPr id="0" name=""/>
        <dsp:cNvSpPr/>
      </dsp:nvSpPr>
      <dsp:spPr>
        <a:xfrm>
          <a:off x="3396807" y="5000745"/>
          <a:ext cx="859114" cy="649210"/>
        </a:xfrm>
        <a:prstGeom prst="rightArrow">
          <a:avLst>
            <a:gd name="adj1" fmla="val 75000"/>
            <a:gd name="adj2" fmla="val 50000"/>
          </a:avLst>
        </a:prstGeom>
        <a:solidFill>
          <a:srgbClr val="0070C0"/>
        </a:solidFill>
        <a:ln w="28575" cap="flat" cmpd="sng" algn="ctr">
          <a:solidFill>
            <a:srgbClr val="00B0F0">
              <a:alpha val="9000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E5D63AA-DFE5-4C55-BA33-B74BA9097F51}">
      <dsp:nvSpPr>
        <dsp:cNvPr id="0" name=""/>
        <dsp:cNvSpPr/>
      </dsp:nvSpPr>
      <dsp:spPr>
        <a:xfrm>
          <a:off x="165" y="5000745"/>
          <a:ext cx="3396641" cy="649210"/>
        </a:xfrm>
        <a:prstGeom prst="roundRect">
          <a:avLst/>
        </a:prstGeom>
        <a:solidFill>
          <a:srgbClr val="D5F4FF"/>
        </a:solidFill>
        <a:ln w="19050" cap="flat" cmpd="sng" algn="ctr">
          <a:solidFill>
            <a:srgbClr val="0070C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 dirty="0">
            <a:solidFill>
              <a:srgbClr val="5B9BD5">
                <a:lumMod val="50000"/>
              </a:srgbClr>
            </a:solidFill>
            <a:latin typeface="Verdana" panose="020B0604030504040204" pitchFamily="34" charset="0"/>
            <a:ea typeface="Verdana" panose="020B0604030504040204" pitchFamily="34" charset="0"/>
            <a:cs typeface="+mn-cs"/>
          </a:endParaRPr>
        </a:p>
      </dsp:txBody>
      <dsp:txXfrm>
        <a:off x="31857" y="5032437"/>
        <a:ext cx="3333257" cy="585826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B7BE5D1-FF81-453E-8E43-1296E6B0AB92}">
      <dsp:nvSpPr>
        <dsp:cNvPr id="0" name=""/>
        <dsp:cNvSpPr/>
      </dsp:nvSpPr>
      <dsp:spPr>
        <a:xfrm>
          <a:off x="3537818" y="1828"/>
          <a:ext cx="715721" cy="649210"/>
        </a:xfrm>
        <a:prstGeom prst="rightArrow">
          <a:avLst>
            <a:gd name="adj1" fmla="val 75000"/>
            <a:gd name="adj2" fmla="val 50000"/>
          </a:avLst>
        </a:prstGeom>
        <a:solidFill>
          <a:srgbClr val="0070C0">
            <a:alpha val="90000"/>
          </a:srgbClr>
        </a:solidFill>
        <a:ln w="28575" cap="flat" cmpd="sng" algn="ctr">
          <a:solidFill>
            <a:srgbClr val="00B0F0">
              <a:alpha val="9000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98DE6D1-A676-4F24-8F9E-0895D213AEC6}">
      <dsp:nvSpPr>
        <dsp:cNvPr id="0" name=""/>
        <dsp:cNvSpPr/>
      </dsp:nvSpPr>
      <dsp:spPr>
        <a:xfrm>
          <a:off x="2548" y="49178"/>
          <a:ext cx="3535270" cy="554509"/>
        </a:xfrm>
        <a:prstGeom prst="roundRect">
          <a:avLst/>
        </a:prstGeom>
        <a:solidFill>
          <a:srgbClr val="D5F4FF"/>
        </a:solidFill>
        <a:ln w="19050" cap="flat" cmpd="sng" algn="ctr">
          <a:solidFill>
            <a:srgbClr val="0070C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 dirty="0">
            <a:solidFill>
              <a:srgbClr val="5B9BD5">
                <a:lumMod val="50000"/>
              </a:srgbClr>
            </a:solidFill>
            <a:latin typeface="Verdana" panose="020B0604030504040204" pitchFamily="34" charset="0"/>
            <a:ea typeface="Verdana" panose="020B0604030504040204" pitchFamily="34" charset="0"/>
            <a:cs typeface="+mn-cs"/>
          </a:endParaRPr>
        </a:p>
      </dsp:txBody>
      <dsp:txXfrm>
        <a:off x="29617" y="76247"/>
        <a:ext cx="3481132" cy="500371"/>
      </dsp:txXfrm>
    </dsp:sp>
    <dsp:sp modelId="{F10F09BA-63EE-49D4-8583-D1D64B7DE6B0}">
      <dsp:nvSpPr>
        <dsp:cNvPr id="0" name=""/>
        <dsp:cNvSpPr/>
      </dsp:nvSpPr>
      <dsp:spPr>
        <a:xfrm>
          <a:off x="3511110" y="715959"/>
          <a:ext cx="743152" cy="649210"/>
        </a:xfrm>
        <a:prstGeom prst="rightArrow">
          <a:avLst>
            <a:gd name="adj1" fmla="val 75000"/>
            <a:gd name="adj2" fmla="val 50000"/>
          </a:avLst>
        </a:prstGeom>
        <a:solidFill>
          <a:srgbClr val="0070C0">
            <a:alpha val="90000"/>
          </a:srgbClr>
        </a:solidFill>
        <a:ln w="28575" cap="flat" cmpd="sng" algn="ctr">
          <a:solidFill>
            <a:srgbClr val="00B0F0">
              <a:alpha val="9000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A5ABA96-16C1-4309-9D0B-FC4529012D9D}">
      <dsp:nvSpPr>
        <dsp:cNvPr id="0" name=""/>
        <dsp:cNvSpPr/>
      </dsp:nvSpPr>
      <dsp:spPr>
        <a:xfrm>
          <a:off x="1824" y="715959"/>
          <a:ext cx="3509286" cy="649210"/>
        </a:xfrm>
        <a:prstGeom prst="roundRect">
          <a:avLst/>
        </a:prstGeom>
        <a:solidFill>
          <a:srgbClr val="D5F4FF"/>
        </a:solidFill>
        <a:ln w="19050" cap="flat" cmpd="sng" algn="ctr">
          <a:solidFill>
            <a:srgbClr val="0070C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 dirty="0">
            <a:solidFill>
              <a:srgbClr val="5B9BD5">
                <a:lumMod val="50000"/>
              </a:srgbClr>
            </a:solidFill>
            <a:latin typeface="Verdana" panose="020B0604030504040204" pitchFamily="34" charset="0"/>
            <a:ea typeface="Verdana" panose="020B0604030504040204" pitchFamily="34" charset="0"/>
            <a:cs typeface="+mn-cs"/>
          </a:endParaRPr>
        </a:p>
      </dsp:txBody>
      <dsp:txXfrm>
        <a:off x="33516" y="747651"/>
        <a:ext cx="3445902" cy="585826"/>
      </dsp:txXfrm>
    </dsp:sp>
    <dsp:sp modelId="{C7F6A13B-6E07-43FC-B294-B3A49875C593}">
      <dsp:nvSpPr>
        <dsp:cNvPr id="0" name=""/>
        <dsp:cNvSpPr/>
      </dsp:nvSpPr>
      <dsp:spPr>
        <a:xfrm>
          <a:off x="3463913" y="1430090"/>
          <a:ext cx="790535" cy="649210"/>
        </a:xfrm>
        <a:prstGeom prst="rightArrow">
          <a:avLst>
            <a:gd name="adj1" fmla="val 75000"/>
            <a:gd name="adj2" fmla="val 50000"/>
          </a:avLst>
        </a:prstGeom>
        <a:solidFill>
          <a:srgbClr val="0070C0"/>
        </a:solidFill>
        <a:ln w="28575" cap="flat" cmpd="sng" algn="ctr">
          <a:solidFill>
            <a:srgbClr val="00B0F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7D10114-EAFA-4CAD-A1BA-604268447782}">
      <dsp:nvSpPr>
        <dsp:cNvPr id="0" name=""/>
        <dsp:cNvSpPr/>
      </dsp:nvSpPr>
      <dsp:spPr>
        <a:xfrm>
          <a:off x="1638" y="1430090"/>
          <a:ext cx="3462274" cy="649210"/>
        </a:xfrm>
        <a:prstGeom prst="roundRect">
          <a:avLst/>
        </a:prstGeom>
        <a:solidFill>
          <a:srgbClr val="D5F4FF"/>
        </a:solidFill>
        <a:ln w="19050" cap="flat" cmpd="sng" algn="ctr">
          <a:solidFill>
            <a:srgbClr val="0070C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 dirty="0">
            <a:solidFill>
              <a:srgbClr val="5B9BD5">
                <a:lumMod val="50000"/>
              </a:srgbClr>
            </a:solidFill>
            <a:latin typeface="Verdana" panose="020B0604030504040204" pitchFamily="34" charset="0"/>
            <a:ea typeface="Verdana" panose="020B0604030504040204" pitchFamily="34" charset="0"/>
            <a:cs typeface="+mn-cs"/>
          </a:endParaRPr>
        </a:p>
      </dsp:txBody>
      <dsp:txXfrm>
        <a:off x="33330" y="1461782"/>
        <a:ext cx="3398890" cy="585826"/>
      </dsp:txXfrm>
    </dsp:sp>
    <dsp:sp modelId="{46D57D0A-FC3F-4692-86D4-37391298CFEC}">
      <dsp:nvSpPr>
        <dsp:cNvPr id="0" name=""/>
        <dsp:cNvSpPr/>
      </dsp:nvSpPr>
      <dsp:spPr>
        <a:xfrm>
          <a:off x="3444488" y="2144221"/>
          <a:ext cx="810485" cy="649210"/>
        </a:xfrm>
        <a:prstGeom prst="rightArrow">
          <a:avLst>
            <a:gd name="adj1" fmla="val 75000"/>
            <a:gd name="adj2" fmla="val 50000"/>
          </a:avLst>
        </a:prstGeom>
        <a:solidFill>
          <a:srgbClr val="0070C0"/>
        </a:solidFill>
        <a:ln w="28575" cap="flat" cmpd="sng" algn="ctr">
          <a:solidFill>
            <a:srgbClr val="00B0F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E02108A-BC5C-4A71-A11B-CE732CEB7EC4}">
      <dsp:nvSpPr>
        <dsp:cNvPr id="0" name=""/>
        <dsp:cNvSpPr/>
      </dsp:nvSpPr>
      <dsp:spPr>
        <a:xfrm>
          <a:off x="1113" y="2144221"/>
          <a:ext cx="3443374" cy="649210"/>
        </a:xfrm>
        <a:prstGeom prst="roundRect">
          <a:avLst/>
        </a:prstGeom>
        <a:solidFill>
          <a:srgbClr val="D5F4FF"/>
        </a:solidFill>
        <a:ln w="19050" cap="flat" cmpd="sng" algn="ctr">
          <a:solidFill>
            <a:srgbClr val="0070C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 dirty="0">
            <a:solidFill>
              <a:srgbClr val="5B9BD5">
                <a:lumMod val="50000"/>
              </a:srgbClr>
            </a:solidFill>
            <a:latin typeface="Verdana" panose="020B0604030504040204" pitchFamily="34" charset="0"/>
            <a:ea typeface="Verdana" panose="020B0604030504040204" pitchFamily="34" charset="0"/>
            <a:cs typeface="+mn-cs"/>
          </a:endParaRPr>
        </a:p>
      </dsp:txBody>
      <dsp:txXfrm>
        <a:off x="32805" y="2175913"/>
        <a:ext cx="3379990" cy="585826"/>
      </dsp:txXfrm>
    </dsp:sp>
    <dsp:sp modelId="{9D22B3BB-A1E6-49B5-87BE-1A7F8ABCCDBD}">
      <dsp:nvSpPr>
        <dsp:cNvPr id="0" name=""/>
        <dsp:cNvSpPr/>
      </dsp:nvSpPr>
      <dsp:spPr>
        <a:xfrm>
          <a:off x="3392460" y="2858352"/>
          <a:ext cx="862855" cy="649210"/>
        </a:xfrm>
        <a:prstGeom prst="rightArrow">
          <a:avLst>
            <a:gd name="adj1" fmla="val 75000"/>
            <a:gd name="adj2" fmla="val 50000"/>
          </a:avLst>
        </a:prstGeom>
        <a:solidFill>
          <a:srgbClr val="0070C0"/>
        </a:solidFill>
        <a:ln w="28575" cap="flat" cmpd="sng" algn="ctr">
          <a:solidFill>
            <a:srgbClr val="00B0F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AB59920-FA1F-4568-98FC-4D079DD5B12D}">
      <dsp:nvSpPr>
        <dsp:cNvPr id="0" name=""/>
        <dsp:cNvSpPr/>
      </dsp:nvSpPr>
      <dsp:spPr>
        <a:xfrm>
          <a:off x="771" y="2858352"/>
          <a:ext cx="3391688" cy="649210"/>
        </a:xfrm>
        <a:prstGeom prst="roundRect">
          <a:avLst/>
        </a:prstGeom>
        <a:solidFill>
          <a:srgbClr val="D5F4FF"/>
        </a:solidFill>
        <a:ln w="19050" cap="flat" cmpd="sng" algn="ctr">
          <a:solidFill>
            <a:srgbClr val="0070C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 dirty="0">
            <a:solidFill>
              <a:srgbClr val="5B9BD5">
                <a:lumMod val="50000"/>
              </a:srgbClr>
            </a:solidFill>
            <a:latin typeface="Verdana" panose="020B0604030504040204" pitchFamily="34" charset="0"/>
            <a:ea typeface="Verdana" panose="020B0604030504040204" pitchFamily="34" charset="0"/>
            <a:cs typeface="+mn-cs"/>
          </a:endParaRPr>
        </a:p>
      </dsp:txBody>
      <dsp:txXfrm>
        <a:off x="32463" y="2890044"/>
        <a:ext cx="3328304" cy="585826"/>
      </dsp:txXfrm>
    </dsp:sp>
    <dsp:sp modelId="{9E927A6B-25D1-410A-86CD-77ABBB58FF20}">
      <dsp:nvSpPr>
        <dsp:cNvPr id="0" name=""/>
        <dsp:cNvSpPr/>
      </dsp:nvSpPr>
      <dsp:spPr>
        <a:xfrm>
          <a:off x="3408832" y="3572483"/>
          <a:ext cx="846645" cy="649210"/>
        </a:xfrm>
        <a:prstGeom prst="rightArrow">
          <a:avLst>
            <a:gd name="adj1" fmla="val 75000"/>
            <a:gd name="adj2" fmla="val 50000"/>
          </a:avLst>
        </a:prstGeom>
        <a:solidFill>
          <a:srgbClr val="0070C0"/>
        </a:solidFill>
        <a:ln w="28575" cap="flat" cmpd="sng" algn="ctr">
          <a:solidFill>
            <a:srgbClr val="00B0F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F832CD8-0F67-4587-8830-DBE13C1D1568}">
      <dsp:nvSpPr>
        <dsp:cNvPr id="0" name=""/>
        <dsp:cNvSpPr/>
      </dsp:nvSpPr>
      <dsp:spPr>
        <a:xfrm>
          <a:off x="609" y="3572483"/>
          <a:ext cx="3408222" cy="649210"/>
        </a:xfrm>
        <a:prstGeom prst="roundRect">
          <a:avLst/>
        </a:prstGeom>
        <a:solidFill>
          <a:srgbClr val="D5F4FF"/>
        </a:solidFill>
        <a:ln w="19050" cap="flat" cmpd="sng" algn="ctr">
          <a:solidFill>
            <a:srgbClr val="0070C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 dirty="0">
            <a:solidFill>
              <a:srgbClr val="5B9BD5">
                <a:lumMod val="50000"/>
              </a:srgbClr>
            </a:solidFill>
            <a:latin typeface="Verdana" panose="020B0604030504040204" pitchFamily="34" charset="0"/>
            <a:ea typeface="Verdana" panose="020B0604030504040204" pitchFamily="34" charset="0"/>
            <a:cs typeface="+mn-cs"/>
          </a:endParaRPr>
        </a:p>
      </dsp:txBody>
      <dsp:txXfrm>
        <a:off x="32301" y="3604175"/>
        <a:ext cx="3344838" cy="585826"/>
      </dsp:txXfrm>
    </dsp:sp>
    <dsp:sp modelId="{0B04CA0F-CECF-4155-8C51-3EE166242C63}">
      <dsp:nvSpPr>
        <dsp:cNvPr id="0" name=""/>
        <dsp:cNvSpPr/>
      </dsp:nvSpPr>
      <dsp:spPr>
        <a:xfrm>
          <a:off x="3417397" y="4286614"/>
          <a:ext cx="836670" cy="649210"/>
        </a:xfrm>
        <a:prstGeom prst="rightArrow">
          <a:avLst>
            <a:gd name="adj1" fmla="val 75000"/>
            <a:gd name="adj2" fmla="val 50000"/>
          </a:avLst>
        </a:prstGeom>
        <a:solidFill>
          <a:srgbClr val="0070C0"/>
        </a:solidFill>
        <a:ln w="12700" cap="flat" cmpd="sng" algn="ctr">
          <a:solidFill>
            <a:srgbClr val="00B0F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ECF98D0-1E11-4C07-8F10-4DCFF4287081}">
      <dsp:nvSpPr>
        <dsp:cNvPr id="0" name=""/>
        <dsp:cNvSpPr/>
      </dsp:nvSpPr>
      <dsp:spPr>
        <a:xfrm>
          <a:off x="2019" y="4286614"/>
          <a:ext cx="3415377" cy="649210"/>
        </a:xfrm>
        <a:prstGeom prst="roundRect">
          <a:avLst/>
        </a:prstGeom>
        <a:solidFill>
          <a:srgbClr val="D5F4FF"/>
        </a:solidFill>
        <a:ln w="19050" cap="flat" cmpd="sng" algn="ctr">
          <a:solidFill>
            <a:srgbClr val="0070C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 dirty="0">
            <a:solidFill>
              <a:srgbClr val="5B9BD5">
                <a:lumMod val="50000"/>
              </a:srgbClr>
            </a:solidFill>
            <a:latin typeface="Verdana" panose="020B0604030504040204" pitchFamily="34" charset="0"/>
            <a:ea typeface="Verdana" panose="020B0604030504040204" pitchFamily="34" charset="0"/>
            <a:cs typeface="+mn-cs"/>
          </a:endParaRPr>
        </a:p>
      </dsp:txBody>
      <dsp:txXfrm>
        <a:off x="33711" y="4318306"/>
        <a:ext cx="3351993" cy="585826"/>
      </dsp:txXfrm>
    </dsp:sp>
    <dsp:sp modelId="{573823A5-9727-4D53-B347-2BE301AEC629}">
      <dsp:nvSpPr>
        <dsp:cNvPr id="0" name=""/>
        <dsp:cNvSpPr/>
      </dsp:nvSpPr>
      <dsp:spPr>
        <a:xfrm>
          <a:off x="3396807" y="5000745"/>
          <a:ext cx="859114" cy="649210"/>
        </a:xfrm>
        <a:prstGeom prst="rightArrow">
          <a:avLst>
            <a:gd name="adj1" fmla="val 75000"/>
            <a:gd name="adj2" fmla="val 50000"/>
          </a:avLst>
        </a:prstGeom>
        <a:solidFill>
          <a:srgbClr val="0070C0"/>
        </a:solidFill>
        <a:ln w="28575" cap="flat" cmpd="sng" algn="ctr">
          <a:solidFill>
            <a:srgbClr val="00B0F0">
              <a:alpha val="9000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E5D63AA-DFE5-4C55-BA33-B74BA9097F51}">
      <dsp:nvSpPr>
        <dsp:cNvPr id="0" name=""/>
        <dsp:cNvSpPr/>
      </dsp:nvSpPr>
      <dsp:spPr>
        <a:xfrm>
          <a:off x="165" y="5000745"/>
          <a:ext cx="3396641" cy="649210"/>
        </a:xfrm>
        <a:prstGeom prst="roundRect">
          <a:avLst/>
        </a:prstGeom>
        <a:solidFill>
          <a:srgbClr val="D5F4FF"/>
        </a:solidFill>
        <a:ln w="19050" cap="flat" cmpd="sng" algn="ctr">
          <a:solidFill>
            <a:srgbClr val="0070C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 dirty="0">
            <a:solidFill>
              <a:srgbClr val="5B9BD5">
                <a:lumMod val="50000"/>
              </a:srgbClr>
            </a:solidFill>
            <a:latin typeface="Verdana" panose="020B0604030504040204" pitchFamily="34" charset="0"/>
            <a:ea typeface="Verdana" panose="020B0604030504040204" pitchFamily="34" charset="0"/>
            <a:cs typeface="+mn-cs"/>
          </a:endParaRPr>
        </a:p>
      </dsp:txBody>
      <dsp:txXfrm>
        <a:off x="31857" y="5032437"/>
        <a:ext cx="3333257" cy="58582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6">
  <dgm:title val=""/>
  <dgm:desc val=""/>
  <dgm:catLst>
    <dgm:cat type="process" pri="22000"/>
    <dgm:cat type="list" pri="1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w" for="ch" forName="linNode" refType="w"/>
      <dgm:constr type="h" for="ch" forName="linNode" refType="h"/>
      <dgm:constr type="h" for="ch" forName="spacing" refType="h" refFor="ch" refForName="linNode" fact="0.1"/>
      <dgm:constr type="primFontSz" for="des" forName="parentShp" op="equ" val="65"/>
      <dgm:constr type="primFontSz" for="des" forName="childShp" op="equ" val="65"/>
    </dgm:constrLst>
    <dgm:ruleLst/>
    <dgm:forEach name="Name1" axis="ch" ptType="node">
      <dgm:layoutNode name="linNode">
        <dgm:choose name="Name2">
          <dgm:if name="Name3" func="var" arg="dir" op="equ" val="norm">
            <dgm:alg type="lin">
              <dgm:param type="linDir" val="fromL"/>
            </dgm:alg>
          </dgm:if>
          <dgm:else name="Name4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if>
          <dgm:else name="Name7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else>
        </dgm:choose>
        <dgm:ruleLst/>
        <dgm:layoutNode name="parentShp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childShp" styleLbl="bgAccFollowNode1">
          <dgm:varLst>
            <dgm:bulletEnabled val="1"/>
          </dgm:varLst>
          <dgm:alg type="tx">
            <dgm:param type="stBulletLvl" val="1"/>
          </dgm:alg>
          <dgm:choose name="Name8">
            <dgm:if name="Name9" func="var" arg="dir" op="equ" val="norm">
              <dgm:shape xmlns:r="http://schemas.openxmlformats.org/officeDocument/2006/relationships" type="rightArrow" r:blip="" zOrderOff="-2">
                <dgm:adjLst>
                  <dgm:adj idx="1" val="0.75"/>
                </dgm:adjLst>
              </dgm:shape>
            </dgm:if>
            <dgm:else name="Name10">
              <dgm:shape xmlns:r="http://schemas.openxmlformats.org/officeDocument/2006/relationships" rot="180" type="rightArrow" r:blip="" zOrderOff="-2">
                <dgm:adjLst>
                  <dgm:adj idx="1" val="0.75"/>
                </dgm:adjLst>
              </dgm:shape>
            </dgm:else>
          </dgm:choose>
          <dgm:presOf axis="des" ptType="node"/>
          <dgm:constrLst>
            <dgm:constr type="secFontSz" refType="primFontSz"/>
            <dgm:constr type="tMarg" refType="primFontSz" fact="0.05"/>
            <dgm:constr type="bMarg" refType="primFontSz" fact="0.05"/>
            <dgm:constr type="lMarg" refType="primFontSz" fact="0.05"/>
            <dgm:constr type="rMarg" refType="primFontSz" fact="0.05"/>
          </dgm:constrLst>
          <dgm:ruleLst>
            <dgm:rule type="primFontSz" val="5" fact="NaN" max="NaN"/>
          </dgm:ruleLst>
        </dgm:layoutNode>
      </dgm:layoutNode>
      <dgm:forEach name="Name11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6">
  <dgm:title val=""/>
  <dgm:desc val=""/>
  <dgm:catLst>
    <dgm:cat type="process" pri="22000"/>
    <dgm:cat type="list" pri="1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w" for="ch" forName="linNode" refType="w"/>
      <dgm:constr type="h" for="ch" forName="linNode" refType="h"/>
      <dgm:constr type="h" for="ch" forName="spacing" refType="h" refFor="ch" refForName="linNode" fact="0.1"/>
      <dgm:constr type="primFontSz" for="des" forName="parentShp" op="equ" val="65"/>
      <dgm:constr type="primFontSz" for="des" forName="childShp" op="equ" val="65"/>
    </dgm:constrLst>
    <dgm:ruleLst/>
    <dgm:forEach name="Name1" axis="ch" ptType="node">
      <dgm:layoutNode name="linNode">
        <dgm:choose name="Name2">
          <dgm:if name="Name3" func="var" arg="dir" op="equ" val="norm">
            <dgm:alg type="lin">
              <dgm:param type="linDir" val="fromL"/>
            </dgm:alg>
          </dgm:if>
          <dgm:else name="Name4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if>
          <dgm:else name="Name7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else>
        </dgm:choose>
        <dgm:ruleLst/>
        <dgm:layoutNode name="parentShp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childShp" styleLbl="bgAccFollowNode1">
          <dgm:varLst>
            <dgm:bulletEnabled val="1"/>
          </dgm:varLst>
          <dgm:alg type="tx">
            <dgm:param type="stBulletLvl" val="1"/>
          </dgm:alg>
          <dgm:choose name="Name8">
            <dgm:if name="Name9" func="var" arg="dir" op="equ" val="norm">
              <dgm:shape xmlns:r="http://schemas.openxmlformats.org/officeDocument/2006/relationships" type="rightArrow" r:blip="" zOrderOff="-2">
                <dgm:adjLst>
                  <dgm:adj idx="1" val="0.75"/>
                </dgm:adjLst>
              </dgm:shape>
            </dgm:if>
            <dgm:else name="Name10">
              <dgm:shape xmlns:r="http://schemas.openxmlformats.org/officeDocument/2006/relationships" rot="180" type="rightArrow" r:blip="" zOrderOff="-2">
                <dgm:adjLst>
                  <dgm:adj idx="1" val="0.75"/>
                </dgm:adjLst>
              </dgm:shape>
            </dgm:else>
          </dgm:choose>
          <dgm:presOf axis="des" ptType="node"/>
          <dgm:constrLst>
            <dgm:constr type="secFontSz" refType="primFontSz"/>
            <dgm:constr type="tMarg" refType="primFontSz" fact="0.05"/>
            <dgm:constr type="bMarg" refType="primFontSz" fact="0.05"/>
            <dgm:constr type="lMarg" refType="primFontSz" fact="0.05"/>
            <dgm:constr type="rMarg" refType="primFontSz" fact="0.05"/>
          </dgm:constrLst>
          <dgm:ruleLst>
            <dgm:rule type="primFontSz" val="5" fact="NaN" max="NaN"/>
          </dgm:ruleLst>
        </dgm:layoutNode>
      </dgm:layoutNode>
      <dgm:forEach name="Name11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5" y="1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B7104D8-92B4-4D61-BD59-6849DDDEC2C6}" type="datetimeFigureOut">
              <a:rPr lang="en-US" smtClean="0"/>
              <a:t>7/13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42376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5" y="8842376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04B922-BCE3-4ED2-B0D1-EAF2290286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114533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3" y="1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>
              <a:defRPr sz="1200"/>
            </a:lvl1pPr>
          </a:lstStyle>
          <a:p>
            <a:fld id="{F434A33A-67CA-4751-A4E9-E0927725BC6A}" type="datetimeFigureOut">
              <a:rPr lang="en-US" smtClean="0"/>
              <a:t>7/13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79550" y="1163638"/>
            <a:ext cx="4064000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80003"/>
            <a:ext cx="5618480" cy="3665459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3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1A24A2C7-959C-4916-946E-9782BE3616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22515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24A2C7-959C-4916-946E-9782BE36169B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663292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24A2C7-959C-4916-946E-9782BE36169B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613375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24A2C7-959C-4916-946E-9782BE36169B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777602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24A2C7-959C-4916-946E-9782BE36169B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26142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24A2C7-959C-4916-946E-9782BE36169B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229884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24A2C7-959C-4916-946E-9782BE36169B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816096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24A2C7-959C-4916-946E-9782BE36169B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53686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30.xml"/><Relationship Id="rId7" Type="http://schemas.openxmlformats.org/officeDocument/2006/relationships/oleObject" Target="../embeddings/oleObject2.bin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32.xml"/><Relationship Id="rId4" Type="http://schemas.openxmlformats.org/officeDocument/2006/relationships/tags" Target="../tags/tag31.xml"/><Relationship Id="rId9" Type="http://schemas.openxmlformats.org/officeDocument/2006/relationships/image" Target="../media/image4.jpe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54380" y="1272011"/>
            <a:ext cx="8549640" cy="2705947"/>
          </a:xfrm>
        </p:spPr>
        <p:txBody>
          <a:bodyPr anchor="b"/>
          <a:lstStyle>
            <a:lvl1pPr algn="ctr"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57300" y="4082310"/>
            <a:ext cx="7543800" cy="1876530"/>
          </a:xfrm>
        </p:spPr>
        <p:txBody>
          <a:bodyPr/>
          <a:lstStyle>
            <a:lvl1pPr marL="0" indent="0" algn="ctr">
              <a:buNone/>
              <a:defRPr sz="2640"/>
            </a:lvl1pPr>
            <a:lvl2pPr marL="502920" indent="0" algn="ctr">
              <a:buNone/>
              <a:defRPr sz="2200"/>
            </a:lvl2pPr>
            <a:lvl3pPr marL="1005840" indent="0" algn="ctr">
              <a:buNone/>
              <a:defRPr sz="1980"/>
            </a:lvl3pPr>
            <a:lvl4pPr marL="1508760" indent="0" algn="ctr">
              <a:buNone/>
              <a:defRPr sz="1760"/>
            </a:lvl4pPr>
            <a:lvl5pPr marL="2011680" indent="0" algn="ctr">
              <a:buNone/>
              <a:defRPr sz="1760"/>
            </a:lvl5pPr>
            <a:lvl6pPr marL="2514600" indent="0" algn="ctr">
              <a:buNone/>
              <a:defRPr sz="1760"/>
            </a:lvl6pPr>
            <a:lvl7pPr marL="3017520" indent="0" algn="ctr">
              <a:buNone/>
              <a:defRPr sz="1760"/>
            </a:lvl7pPr>
            <a:lvl8pPr marL="3520440" indent="0" algn="ctr">
              <a:buNone/>
              <a:defRPr sz="1760"/>
            </a:lvl8pPr>
            <a:lvl9pPr marL="4023360" indent="0" algn="ctr">
              <a:buNone/>
              <a:defRPr sz="176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555F26-C978-4836-B92E-D3E4038C1DE5}" type="datetimeFigureOut">
              <a:rPr lang="en-US" smtClean="0"/>
              <a:t>7/13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7146D6-432E-4845-90B4-09ED543589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918822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555F26-C978-4836-B92E-D3E4038C1DE5}" type="datetimeFigureOut">
              <a:rPr lang="en-US" smtClean="0"/>
              <a:t>7/13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7146D6-432E-4845-90B4-09ED543589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891456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98043" y="413808"/>
            <a:ext cx="2168843" cy="658675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91515" y="413808"/>
            <a:ext cx="6380798" cy="658675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555F26-C978-4836-B92E-D3E4038C1DE5}" type="datetimeFigureOut">
              <a:rPr lang="en-US" smtClean="0"/>
              <a:t>7/13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7146D6-432E-4845-90B4-09ED543589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151955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1"/>
            </p:custDataLst>
          </p:nvPr>
        </p:nvGraphicFramePr>
        <p:xfrm>
          <a:off x="1748" y="1801"/>
          <a:ext cx="1746" cy="17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2" name="Object 1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48" y="1801"/>
                        <a:ext cx="1746" cy="179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430" name="Picture 46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1"/>
            <a:ext cx="10058400" cy="777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8" name="McK Title Elements" hidden="1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5272720" y="3990993"/>
            <a:ext cx="4617149" cy="534191"/>
            <a:chOff x="1663" y="3113"/>
            <a:chExt cx="3109" cy="291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13"/>
              <a:ext cx="3109" cy="12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 eaLnBrk="1" hangingPunct="1">
                <a:defRPr/>
              </a:pPr>
              <a:r>
                <a:rPr lang="en-US" sz="1540" dirty="0">
                  <a:solidFill>
                    <a:srgbClr val="335490">
                      <a:lumMod val="50000"/>
                    </a:srgbClr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2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 eaLnBrk="1" hangingPunct="1">
                <a:defRPr/>
              </a:pPr>
              <a:r>
                <a:rPr lang="en-US" sz="1540" dirty="0">
                  <a:solidFill>
                    <a:srgbClr val="335490">
                      <a:lumMod val="50000"/>
                    </a:srgbClr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4"/>
            </p:custDataLst>
          </p:nvPr>
        </p:nvSpPr>
        <p:spPr bwMode="auto">
          <a:xfrm>
            <a:off x="582658" y="641101"/>
            <a:ext cx="8893086" cy="488339"/>
          </a:xfrm>
          <a:prstGeom prst="rect">
            <a:avLst/>
          </a:prstGeom>
        </p:spPr>
        <p:txBody>
          <a:bodyPr/>
          <a:lstStyle>
            <a:lvl1pPr algn="ctr">
              <a:defRPr sz="3080" b="1" baseline="0">
                <a:solidFill>
                  <a:srgbClr val="008000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5"/>
            </p:custDataLst>
          </p:nvPr>
        </p:nvSpPr>
        <p:spPr bwMode="auto">
          <a:xfrm>
            <a:off x="582658" y="1570096"/>
            <a:ext cx="8893086" cy="236988"/>
          </a:xfrm>
        </p:spPr>
        <p:txBody>
          <a:bodyPr wrap="square">
            <a:spAutoFit/>
          </a:bodyPr>
          <a:lstStyle>
            <a:lvl1pPr algn="ctr">
              <a:defRPr sz="154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3100720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" y="0"/>
          <a:ext cx="174625" cy="1799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74625" cy="17991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>
            <a:lvl1pPr>
              <a:defRPr lang="en-US" sz="2310" b="1" baseline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004772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02856" algn="l"/>
              </a:tabLs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"/>
          <p:cNvSpPr txBox="1">
            <a:spLocks/>
          </p:cNvSpPr>
          <p:nvPr userDrawn="1">
            <p:custDataLst>
              <p:tags r:id="rId3"/>
            </p:custDataLst>
          </p:nvPr>
        </p:nvSpPr>
        <p:spPr>
          <a:xfrm>
            <a:off x="9878344" y="7425374"/>
            <a:ext cx="65" cy="33855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endParaRPr lang="en-US" sz="1100" dirty="0">
              <a:solidFill>
                <a:srgbClr val="000000"/>
              </a:solidFill>
            </a:endParaRPr>
          </a:p>
          <a:p>
            <a:pPr algn="r"/>
            <a:endParaRPr lang="en-US" sz="11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763258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502920" y="311256"/>
            <a:ext cx="9052560" cy="35548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502920" y="1813561"/>
            <a:ext cx="9052560" cy="135421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8956139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502920" y="311256"/>
            <a:ext cx="9052560" cy="35548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half" idx="1"/>
          </p:nvPr>
        </p:nvSpPr>
        <p:spPr>
          <a:xfrm>
            <a:off x="502920" y="1813561"/>
            <a:ext cx="4442460" cy="2302169"/>
          </a:xfrm>
        </p:spPr>
        <p:txBody>
          <a:bodyPr/>
          <a:lstStyle>
            <a:lvl1pPr>
              <a:defRPr sz="3080"/>
            </a:lvl1pPr>
            <a:lvl2pPr>
              <a:defRPr sz="2640"/>
            </a:lvl2pPr>
            <a:lvl3pPr>
              <a:defRPr sz="2200"/>
            </a:lvl3pPr>
            <a:lvl4pPr>
              <a:defRPr sz="1980"/>
            </a:lvl4pPr>
            <a:lvl5pPr>
              <a:defRPr sz="1980"/>
            </a:lvl5pPr>
            <a:lvl6pPr>
              <a:defRPr sz="1980"/>
            </a:lvl6pPr>
            <a:lvl7pPr>
              <a:defRPr sz="1980"/>
            </a:lvl7pPr>
            <a:lvl8pPr>
              <a:defRPr sz="1980"/>
            </a:lvl8pPr>
            <a:lvl9pPr>
              <a:defRPr sz="198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3"/>
          <p:cNvSpPr>
            <a:spLocks noGrp="1"/>
          </p:cNvSpPr>
          <p:nvPr>
            <p:ph sz="half" idx="2"/>
          </p:nvPr>
        </p:nvSpPr>
        <p:spPr>
          <a:xfrm>
            <a:off x="5113020" y="1813561"/>
            <a:ext cx="4442460" cy="2302169"/>
          </a:xfrm>
        </p:spPr>
        <p:txBody>
          <a:bodyPr/>
          <a:lstStyle>
            <a:lvl1pPr>
              <a:defRPr sz="3080"/>
            </a:lvl1pPr>
            <a:lvl2pPr>
              <a:defRPr sz="2640"/>
            </a:lvl2pPr>
            <a:lvl3pPr>
              <a:defRPr sz="2200"/>
            </a:lvl3pPr>
            <a:lvl4pPr>
              <a:defRPr sz="1980"/>
            </a:lvl4pPr>
            <a:lvl5pPr>
              <a:defRPr sz="1980"/>
            </a:lvl5pPr>
            <a:lvl6pPr>
              <a:defRPr sz="1980"/>
            </a:lvl6pPr>
            <a:lvl7pPr>
              <a:defRPr sz="1980"/>
            </a:lvl7pPr>
            <a:lvl8pPr>
              <a:defRPr sz="1980"/>
            </a:lvl8pPr>
            <a:lvl9pPr>
              <a:defRPr sz="198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033368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555F26-C978-4836-B92E-D3E4038C1DE5}" type="datetimeFigureOut">
              <a:rPr lang="en-US" smtClean="0"/>
              <a:t>7/13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7146D6-432E-4845-90B4-09ED543589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72612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6277" y="1937705"/>
            <a:ext cx="8675370" cy="3233102"/>
          </a:xfrm>
        </p:spPr>
        <p:txBody>
          <a:bodyPr anchor="b"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6277" y="5201393"/>
            <a:ext cx="8675370" cy="1700212"/>
          </a:xfrm>
        </p:spPr>
        <p:txBody>
          <a:bodyPr/>
          <a:lstStyle>
            <a:lvl1pPr marL="0" indent="0">
              <a:buNone/>
              <a:defRPr sz="2640">
                <a:solidFill>
                  <a:schemeClr val="tx1"/>
                </a:solidFill>
              </a:defRPr>
            </a:lvl1pPr>
            <a:lvl2pPr marL="502920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2pPr>
            <a:lvl3pPr marL="1005840" indent="0">
              <a:buNone/>
              <a:defRPr sz="1980">
                <a:solidFill>
                  <a:schemeClr val="tx1">
                    <a:tint val="75000"/>
                  </a:schemeClr>
                </a:solidFill>
              </a:defRPr>
            </a:lvl3pPr>
            <a:lvl4pPr marL="1508760" indent="0">
              <a:buNone/>
              <a:defRPr sz="1760">
                <a:solidFill>
                  <a:schemeClr val="tx1">
                    <a:tint val="75000"/>
                  </a:schemeClr>
                </a:solidFill>
              </a:defRPr>
            </a:lvl4pPr>
            <a:lvl5pPr marL="2011680" indent="0">
              <a:buNone/>
              <a:defRPr sz="1760">
                <a:solidFill>
                  <a:schemeClr val="tx1">
                    <a:tint val="75000"/>
                  </a:schemeClr>
                </a:solidFill>
              </a:defRPr>
            </a:lvl5pPr>
            <a:lvl6pPr marL="2514600" indent="0">
              <a:buNone/>
              <a:defRPr sz="1760">
                <a:solidFill>
                  <a:schemeClr val="tx1">
                    <a:tint val="75000"/>
                  </a:schemeClr>
                </a:solidFill>
              </a:defRPr>
            </a:lvl6pPr>
            <a:lvl7pPr marL="3017520" indent="0">
              <a:buNone/>
              <a:defRPr sz="1760">
                <a:solidFill>
                  <a:schemeClr val="tx1">
                    <a:tint val="75000"/>
                  </a:schemeClr>
                </a:solidFill>
              </a:defRPr>
            </a:lvl7pPr>
            <a:lvl8pPr marL="3520440" indent="0">
              <a:buNone/>
              <a:defRPr sz="1760">
                <a:solidFill>
                  <a:schemeClr val="tx1">
                    <a:tint val="75000"/>
                  </a:schemeClr>
                </a:solidFill>
              </a:defRPr>
            </a:lvl8pPr>
            <a:lvl9pPr marL="4023360" indent="0">
              <a:buNone/>
              <a:defRPr sz="176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555F26-C978-4836-B92E-D3E4038C1DE5}" type="datetimeFigureOut">
              <a:rPr lang="en-US" smtClean="0"/>
              <a:t>7/13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7146D6-432E-4845-90B4-09ED543589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90159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91515" y="2069042"/>
            <a:ext cx="4274820" cy="493151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92065" y="2069042"/>
            <a:ext cx="4274820" cy="493151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555F26-C978-4836-B92E-D3E4038C1DE5}" type="datetimeFigureOut">
              <a:rPr lang="en-US" smtClean="0"/>
              <a:t>7/13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7146D6-432E-4845-90B4-09ED543589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87974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2825" y="413810"/>
            <a:ext cx="8675370" cy="150230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2826" y="1905318"/>
            <a:ext cx="4255174" cy="933767"/>
          </a:xfrm>
        </p:spPr>
        <p:txBody>
          <a:bodyPr anchor="b"/>
          <a:lstStyle>
            <a:lvl1pPr marL="0" indent="0">
              <a:buNone/>
              <a:defRPr sz="2640" b="1"/>
            </a:lvl1pPr>
            <a:lvl2pPr marL="502920" indent="0">
              <a:buNone/>
              <a:defRPr sz="2200" b="1"/>
            </a:lvl2pPr>
            <a:lvl3pPr marL="1005840" indent="0">
              <a:buNone/>
              <a:defRPr sz="1980" b="1"/>
            </a:lvl3pPr>
            <a:lvl4pPr marL="1508760" indent="0">
              <a:buNone/>
              <a:defRPr sz="1760" b="1"/>
            </a:lvl4pPr>
            <a:lvl5pPr marL="2011680" indent="0">
              <a:buNone/>
              <a:defRPr sz="1760" b="1"/>
            </a:lvl5pPr>
            <a:lvl6pPr marL="2514600" indent="0">
              <a:buNone/>
              <a:defRPr sz="1760" b="1"/>
            </a:lvl6pPr>
            <a:lvl7pPr marL="3017520" indent="0">
              <a:buNone/>
              <a:defRPr sz="1760" b="1"/>
            </a:lvl7pPr>
            <a:lvl8pPr marL="3520440" indent="0">
              <a:buNone/>
              <a:defRPr sz="1760" b="1"/>
            </a:lvl8pPr>
            <a:lvl9pPr marL="4023360" indent="0">
              <a:buNone/>
              <a:defRPr sz="176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92826" y="2839085"/>
            <a:ext cx="4255174" cy="417586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92066" y="1905318"/>
            <a:ext cx="4276130" cy="933767"/>
          </a:xfrm>
        </p:spPr>
        <p:txBody>
          <a:bodyPr anchor="b"/>
          <a:lstStyle>
            <a:lvl1pPr marL="0" indent="0">
              <a:buNone/>
              <a:defRPr sz="2640" b="1"/>
            </a:lvl1pPr>
            <a:lvl2pPr marL="502920" indent="0">
              <a:buNone/>
              <a:defRPr sz="2200" b="1"/>
            </a:lvl2pPr>
            <a:lvl3pPr marL="1005840" indent="0">
              <a:buNone/>
              <a:defRPr sz="1980" b="1"/>
            </a:lvl3pPr>
            <a:lvl4pPr marL="1508760" indent="0">
              <a:buNone/>
              <a:defRPr sz="1760" b="1"/>
            </a:lvl4pPr>
            <a:lvl5pPr marL="2011680" indent="0">
              <a:buNone/>
              <a:defRPr sz="1760" b="1"/>
            </a:lvl5pPr>
            <a:lvl6pPr marL="2514600" indent="0">
              <a:buNone/>
              <a:defRPr sz="1760" b="1"/>
            </a:lvl6pPr>
            <a:lvl7pPr marL="3017520" indent="0">
              <a:buNone/>
              <a:defRPr sz="1760" b="1"/>
            </a:lvl7pPr>
            <a:lvl8pPr marL="3520440" indent="0">
              <a:buNone/>
              <a:defRPr sz="1760" b="1"/>
            </a:lvl8pPr>
            <a:lvl9pPr marL="4023360" indent="0">
              <a:buNone/>
              <a:defRPr sz="176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92066" y="2839085"/>
            <a:ext cx="4276130" cy="417586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555F26-C978-4836-B92E-D3E4038C1DE5}" type="datetimeFigureOut">
              <a:rPr lang="en-US" smtClean="0"/>
              <a:t>7/13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7146D6-432E-4845-90B4-09ED543589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24943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555F26-C978-4836-B92E-D3E4038C1DE5}" type="datetimeFigureOut">
              <a:rPr lang="en-US" smtClean="0"/>
              <a:t>7/13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7146D6-432E-4845-90B4-09ED543589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52254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555F26-C978-4836-B92E-D3E4038C1DE5}" type="datetimeFigureOut">
              <a:rPr lang="en-US" smtClean="0"/>
              <a:t>7/13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7146D6-432E-4845-90B4-09ED543589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69735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2825" y="518160"/>
            <a:ext cx="3244096" cy="1813560"/>
          </a:xfrm>
        </p:spPr>
        <p:txBody>
          <a:bodyPr anchor="b"/>
          <a:lstStyle>
            <a:lvl1pPr>
              <a:defRPr sz="352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76130" y="1119083"/>
            <a:ext cx="5092065" cy="5523442"/>
          </a:xfrm>
        </p:spPr>
        <p:txBody>
          <a:bodyPr/>
          <a:lstStyle>
            <a:lvl1pPr>
              <a:defRPr sz="3520"/>
            </a:lvl1pPr>
            <a:lvl2pPr>
              <a:defRPr sz="3080"/>
            </a:lvl2pPr>
            <a:lvl3pPr>
              <a:defRPr sz="2640"/>
            </a:lvl3pPr>
            <a:lvl4pPr>
              <a:defRPr sz="2200"/>
            </a:lvl4pPr>
            <a:lvl5pPr>
              <a:defRPr sz="2200"/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92825" y="2331720"/>
            <a:ext cx="3244096" cy="4319800"/>
          </a:xfrm>
        </p:spPr>
        <p:txBody>
          <a:bodyPr/>
          <a:lstStyle>
            <a:lvl1pPr marL="0" indent="0">
              <a:buNone/>
              <a:defRPr sz="1760"/>
            </a:lvl1pPr>
            <a:lvl2pPr marL="502920" indent="0">
              <a:buNone/>
              <a:defRPr sz="1540"/>
            </a:lvl2pPr>
            <a:lvl3pPr marL="1005840" indent="0">
              <a:buNone/>
              <a:defRPr sz="1320"/>
            </a:lvl3pPr>
            <a:lvl4pPr marL="1508760" indent="0">
              <a:buNone/>
              <a:defRPr sz="1100"/>
            </a:lvl4pPr>
            <a:lvl5pPr marL="2011680" indent="0">
              <a:buNone/>
              <a:defRPr sz="1100"/>
            </a:lvl5pPr>
            <a:lvl6pPr marL="2514600" indent="0">
              <a:buNone/>
              <a:defRPr sz="1100"/>
            </a:lvl6pPr>
            <a:lvl7pPr marL="3017520" indent="0">
              <a:buNone/>
              <a:defRPr sz="1100"/>
            </a:lvl7pPr>
            <a:lvl8pPr marL="3520440" indent="0">
              <a:buNone/>
              <a:defRPr sz="1100"/>
            </a:lvl8pPr>
            <a:lvl9pPr marL="4023360" indent="0">
              <a:buNone/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555F26-C978-4836-B92E-D3E4038C1DE5}" type="datetimeFigureOut">
              <a:rPr lang="en-US" smtClean="0"/>
              <a:t>7/13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7146D6-432E-4845-90B4-09ED543589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90356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2825" y="518160"/>
            <a:ext cx="3244096" cy="1813560"/>
          </a:xfrm>
        </p:spPr>
        <p:txBody>
          <a:bodyPr anchor="b"/>
          <a:lstStyle>
            <a:lvl1pPr>
              <a:defRPr sz="352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276130" y="1119083"/>
            <a:ext cx="5092065" cy="5523442"/>
          </a:xfrm>
        </p:spPr>
        <p:txBody>
          <a:bodyPr anchor="t"/>
          <a:lstStyle>
            <a:lvl1pPr marL="0" indent="0">
              <a:buNone/>
              <a:defRPr sz="3520"/>
            </a:lvl1pPr>
            <a:lvl2pPr marL="502920" indent="0">
              <a:buNone/>
              <a:defRPr sz="3080"/>
            </a:lvl2pPr>
            <a:lvl3pPr marL="1005840" indent="0">
              <a:buNone/>
              <a:defRPr sz="2640"/>
            </a:lvl3pPr>
            <a:lvl4pPr marL="1508760" indent="0">
              <a:buNone/>
              <a:defRPr sz="2200"/>
            </a:lvl4pPr>
            <a:lvl5pPr marL="2011680" indent="0">
              <a:buNone/>
              <a:defRPr sz="2200"/>
            </a:lvl5pPr>
            <a:lvl6pPr marL="2514600" indent="0">
              <a:buNone/>
              <a:defRPr sz="2200"/>
            </a:lvl6pPr>
            <a:lvl7pPr marL="3017520" indent="0">
              <a:buNone/>
              <a:defRPr sz="2200"/>
            </a:lvl7pPr>
            <a:lvl8pPr marL="3520440" indent="0">
              <a:buNone/>
              <a:defRPr sz="2200"/>
            </a:lvl8pPr>
            <a:lvl9pPr marL="4023360" indent="0">
              <a:buNone/>
              <a:defRPr sz="22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92825" y="2331720"/>
            <a:ext cx="3244096" cy="4319800"/>
          </a:xfrm>
        </p:spPr>
        <p:txBody>
          <a:bodyPr/>
          <a:lstStyle>
            <a:lvl1pPr marL="0" indent="0">
              <a:buNone/>
              <a:defRPr sz="1760"/>
            </a:lvl1pPr>
            <a:lvl2pPr marL="502920" indent="0">
              <a:buNone/>
              <a:defRPr sz="1540"/>
            </a:lvl2pPr>
            <a:lvl3pPr marL="1005840" indent="0">
              <a:buNone/>
              <a:defRPr sz="1320"/>
            </a:lvl3pPr>
            <a:lvl4pPr marL="1508760" indent="0">
              <a:buNone/>
              <a:defRPr sz="1100"/>
            </a:lvl4pPr>
            <a:lvl5pPr marL="2011680" indent="0">
              <a:buNone/>
              <a:defRPr sz="1100"/>
            </a:lvl5pPr>
            <a:lvl6pPr marL="2514600" indent="0">
              <a:buNone/>
              <a:defRPr sz="1100"/>
            </a:lvl6pPr>
            <a:lvl7pPr marL="3017520" indent="0">
              <a:buNone/>
              <a:defRPr sz="1100"/>
            </a:lvl7pPr>
            <a:lvl8pPr marL="3520440" indent="0">
              <a:buNone/>
              <a:defRPr sz="1100"/>
            </a:lvl8pPr>
            <a:lvl9pPr marL="4023360" indent="0">
              <a:buNone/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555F26-C978-4836-B92E-D3E4038C1DE5}" type="datetimeFigureOut">
              <a:rPr lang="en-US" smtClean="0"/>
              <a:t>7/13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7146D6-432E-4845-90B4-09ED543589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05711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13" Type="http://schemas.openxmlformats.org/officeDocument/2006/relationships/tags" Target="../tags/tag8.xml"/><Relationship Id="rId18" Type="http://schemas.openxmlformats.org/officeDocument/2006/relationships/tags" Target="../tags/tag13.xml"/><Relationship Id="rId26" Type="http://schemas.openxmlformats.org/officeDocument/2006/relationships/tags" Target="../tags/tag21.xml"/><Relationship Id="rId3" Type="http://schemas.openxmlformats.org/officeDocument/2006/relationships/slideLayout" Target="../slideLayouts/slideLayout14.xml"/><Relationship Id="rId21" Type="http://schemas.openxmlformats.org/officeDocument/2006/relationships/tags" Target="../tags/tag16.xml"/><Relationship Id="rId34" Type="http://schemas.openxmlformats.org/officeDocument/2006/relationships/oleObject" Target="../embeddings/oleObject1.bin"/><Relationship Id="rId7" Type="http://schemas.openxmlformats.org/officeDocument/2006/relationships/tags" Target="../tags/tag2.xml"/><Relationship Id="rId12" Type="http://schemas.openxmlformats.org/officeDocument/2006/relationships/tags" Target="../tags/tag7.xml"/><Relationship Id="rId17" Type="http://schemas.openxmlformats.org/officeDocument/2006/relationships/tags" Target="../tags/tag12.xml"/><Relationship Id="rId25" Type="http://schemas.openxmlformats.org/officeDocument/2006/relationships/tags" Target="../tags/tag20.xml"/><Relationship Id="rId33" Type="http://schemas.openxmlformats.org/officeDocument/2006/relationships/image" Target="../media/image1.jpeg"/><Relationship Id="rId2" Type="http://schemas.openxmlformats.org/officeDocument/2006/relationships/slideLayout" Target="../slideLayouts/slideLayout13.xml"/><Relationship Id="rId16" Type="http://schemas.openxmlformats.org/officeDocument/2006/relationships/tags" Target="../tags/tag11.xml"/><Relationship Id="rId20" Type="http://schemas.openxmlformats.org/officeDocument/2006/relationships/tags" Target="../tags/tag15.xml"/><Relationship Id="rId29" Type="http://schemas.openxmlformats.org/officeDocument/2006/relationships/tags" Target="../tags/tag24.xml"/><Relationship Id="rId1" Type="http://schemas.openxmlformats.org/officeDocument/2006/relationships/slideLayout" Target="../slideLayouts/slideLayout12.xml"/><Relationship Id="rId6" Type="http://schemas.openxmlformats.org/officeDocument/2006/relationships/tags" Target="../tags/tag1.xml"/><Relationship Id="rId11" Type="http://schemas.openxmlformats.org/officeDocument/2006/relationships/tags" Target="../tags/tag6.xml"/><Relationship Id="rId24" Type="http://schemas.openxmlformats.org/officeDocument/2006/relationships/tags" Target="../tags/tag19.xml"/><Relationship Id="rId32" Type="http://schemas.openxmlformats.org/officeDocument/2006/relationships/tags" Target="../tags/tag27.xml"/><Relationship Id="rId5" Type="http://schemas.openxmlformats.org/officeDocument/2006/relationships/theme" Target="../theme/theme2.xml"/><Relationship Id="rId15" Type="http://schemas.openxmlformats.org/officeDocument/2006/relationships/tags" Target="../tags/tag10.xml"/><Relationship Id="rId23" Type="http://schemas.openxmlformats.org/officeDocument/2006/relationships/tags" Target="../tags/tag18.xml"/><Relationship Id="rId28" Type="http://schemas.openxmlformats.org/officeDocument/2006/relationships/tags" Target="../tags/tag23.xml"/><Relationship Id="rId10" Type="http://schemas.openxmlformats.org/officeDocument/2006/relationships/tags" Target="../tags/tag5.xml"/><Relationship Id="rId19" Type="http://schemas.openxmlformats.org/officeDocument/2006/relationships/tags" Target="../tags/tag14.xml"/><Relationship Id="rId31" Type="http://schemas.openxmlformats.org/officeDocument/2006/relationships/tags" Target="../tags/tag26.xml"/><Relationship Id="rId4" Type="http://schemas.openxmlformats.org/officeDocument/2006/relationships/slideLayout" Target="../slideLayouts/slideLayout15.xml"/><Relationship Id="rId9" Type="http://schemas.openxmlformats.org/officeDocument/2006/relationships/tags" Target="../tags/tag4.xml"/><Relationship Id="rId14" Type="http://schemas.openxmlformats.org/officeDocument/2006/relationships/tags" Target="../tags/tag9.xml"/><Relationship Id="rId22" Type="http://schemas.openxmlformats.org/officeDocument/2006/relationships/tags" Target="../tags/tag17.xml"/><Relationship Id="rId27" Type="http://schemas.openxmlformats.org/officeDocument/2006/relationships/tags" Target="../tags/tag22.xml"/><Relationship Id="rId30" Type="http://schemas.openxmlformats.org/officeDocument/2006/relationships/tags" Target="../tags/tag25.xml"/><Relationship Id="rId35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91515" y="413810"/>
            <a:ext cx="8675370" cy="150230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1515" y="2069042"/>
            <a:ext cx="8675370" cy="493151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91515" y="7203865"/>
            <a:ext cx="2263140" cy="41380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2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F555F26-C978-4836-B92E-D3E4038C1DE5}" type="datetimeFigureOut">
              <a:rPr lang="en-US" smtClean="0"/>
              <a:t>7/13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31845" y="7203865"/>
            <a:ext cx="3394710" cy="41380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2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103745" y="7203865"/>
            <a:ext cx="2263140" cy="41380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2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17146D6-432E-4845-90B4-09ED543589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35063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1005840" rtl="0" eaLnBrk="1" latinLnBrk="0" hangingPunct="1">
        <a:lnSpc>
          <a:spcPct val="90000"/>
        </a:lnSpc>
        <a:spcBef>
          <a:spcPct val="0"/>
        </a:spcBef>
        <a:buNone/>
        <a:defRPr sz="484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1460" indent="-251460" algn="l" defTabSz="1005840" rtl="0" eaLnBrk="1" latinLnBrk="0" hangingPunct="1">
        <a:lnSpc>
          <a:spcPct val="90000"/>
        </a:lnSpc>
        <a:spcBef>
          <a:spcPts val="1100"/>
        </a:spcBef>
        <a:buFont typeface="Arial" panose="020B0604020202020204" pitchFamily="34" charset="0"/>
        <a:buChar char="•"/>
        <a:defRPr sz="3080" kern="1200">
          <a:solidFill>
            <a:schemeClr val="tx1"/>
          </a:solidFill>
          <a:latin typeface="+mn-lt"/>
          <a:ea typeface="+mn-ea"/>
          <a:cs typeface="+mn-cs"/>
        </a:defRPr>
      </a:lvl1pPr>
      <a:lvl2pPr marL="754380" indent="-251460" algn="l" defTabSz="1005840" rtl="0" eaLnBrk="1" latinLnBrk="0" hangingPunct="1">
        <a:lnSpc>
          <a:spcPct val="90000"/>
        </a:lnSpc>
        <a:spcBef>
          <a:spcPts val="550"/>
        </a:spcBef>
        <a:buFont typeface="Arial" panose="020B0604020202020204" pitchFamily="34" charset="0"/>
        <a:buChar char="•"/>
        <a:defRPr sz="2640" kern="1200">
          <a:solidFill>
            <a:schemeClr val="tx1"/>
          </a:solidFill>
          <a:latin typeface="+mn-lt"/>
          <a:ea typeface="+mn-ea"/>
          <a:cs typeface="+mn-cs"/>
        </a:defRPr>
      </a:lvl2pPr>
      <a:lvl3pPr marL="1257300" indent="-251460" algn="l" defTabSz="1005840" rtl="0" eaLnBrk="1" latinLnBrk="0" hangingPunct="1">
        <a:lnSpc>
          <a:spcPct val="90000"/>
        </a:lnSpc>
        <a:spcBef>
          <a:spcPts val="550"/>
        </a:spcBef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760220" indent="-251460" algn="l" defTabSz="1005840" rtl="0" eaLnBrk="1" latinLnBrk="0" hangingPunct="1">
        <a:lnSpc>
          <a:spcPct val="90000"/>
        </a:lnSpc>
        <a:spcBef>
          <a:spcPts val="550"/>
        </a:spcBef>
        <a:buFont typeface="Arial" panose="020B0604020202020204" pitchFamily="34" charset="0"/>
        <a:buChar char="•"/>
        <a:defRPr sz="1980" kern="1200">
          <a:solidFill>
            <a:schemeClr val="tx1"/>
          </a:solidFill>
          <a:latin typeface="+mn-lt"/>
          <a:ea typeface="+mn-ea"/>
          <a:cs typeface="+mn-cs"/>
        </a:defRPr>
      </a:lvl4pPr>
      <a:lvl5pPr marL="2263140" indent="-251460" algn="l" defTabSz="1005840" rtl="0" eaLnBrk="1" latinLnBrk="0" hangingPunct="1">
        <a:lnSpc>
          <a:spcPct val="90000"/>
        </a:lnSpc>
        <a:spcBef>
          <a:spcPts val="550"/>
        </a:spcBef>
        <a:buFont typeface="Arial" panose="020B0604020202020204" pitchFamily="34" charset="0"/>
        <a:buChar char="•"/>
        <a:defRPr sz="1980" kern="1200">
          <a:solidFill>
            <a:schemeClr val="tx1"/>
          </a:solidFill>
          <a:latin typeface="+mn-lt"/>
          <a:ea typeface="+mn-ea"/>
          <a:cs typeface="+mn-cs"/>
        </a:defRPr>
      </a:lvl5pPr>
      <a:lvl6pPr marL="2766060" indent="-251460" algn="l" defTabSz="1005840" rtl="0" eaLnBrk="1" latinLnBrk="0" hangingPunct="1">
        <a:lnSpc>
          <a:spcPct val="90000"/>
        </a:lnSpc>
        <a:spcBef>
          <a:spcPts val="550"/>
        </a:spcBef>
        <a:buFont typeface="Arial" panose="020B0604020202020204" pitchFamily="34" charset="0"/>
        <a:buChar char="•"/>
        <a:defRPr sz="1980" kern="1200">
          <a:solidFill>
            <a:schemeClr val="tx1"/>
          </a:solidFill>
          <a:latin typeface="+mn-lt"/>
          <a:ea typeface="+mn-ea"/>
          <a:cs typeface="+mn-cs"/>
        </a:defRPr>
      </a:lvl6pPr>
      <a:lvl7pPr marL="3268980" indent="-251460" algn="l" defTabSz="1005840" rtl="0" eaLnBrk="1" latinLnBrk="0" hangingPunct="1">
        <a:lnSpc>
          <a:spcPct val="90000"/>
        </a:lnSpc>
        <a:spcBef>
          <a:spcPts val="550"/>
        </a:spcBef>
        <a:buFont typeface="Arial" panose="020B0604020202020204" pitchFamily="34" charset="0"/>
        <a:buChar char="•"/>
        <a:defRPr sz="1980" kern="1200">
          <a:solidFill>
            <a:schemeClr val="tx1"/>
          </a:solidFill>
          <a:latin typeface="+mn-lt"/>
          <a:ea typeface="+mn-ea"/>
          <a:cs typeface="+mn-cs"/>
        </a:defRPr>
      </a:lvl7pPr>
      <a:lvl8pPr marL="3771900" indent="-251460" algn="l" defTabSz="1005840" rtl="0" eaLnBrk="1" latinLnBrk="0" hangingPunct="1">
        <a:lnSpc>
          <a:spcPct val="90000"/>
        </a:lnSpc>
        <a:spcBef>
          <a:spcPts val="550"/>
        </a:spcBef>
        <a:buFont typeface="Arial" panose="020B0604020202020204" pitchFamily="34" charset="0"/>
        <a:buChar char="•"/>
        <a:defRPr sz="1980" kern="1200">
          <a:solidFill>
            <a:schemeClr val="tx1"/>
          </a:solidFill>
          <a:latin typeface="+mn-lt"/>
          <a:ea typeface="+mn-ea"/>
          <a:cs typeface="+mn-cs"/>
        </a:defRPr>
      </a:lvl8pPr>
      <a:lvl9pPr marL="4274820" indent="-251460" algn="l" defTabSz="1005840" rtl="0" eaLnBrk="1" latinLnBrk="0" hangingPunct="1">
        <a:lnSpc>
          <a:spcPct val="90000"/>
        </a:lnSpc>
        <a:spcBef>
          <a:spcPts val="550"/>
        </a:spcBef>
        <a:buFont typeface="Arial" panose="020B0604020202020204" pitchFamily="34" charset="0"/>
        <a:buChar char="•"/>
        <a:defRPr sz="198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5840" rtl="0" eaLnBrk="1" latinLnBrk="0" hangingPunct="1">
        <a:defRPr sz="1980" kern="1200">
          <a:solidFill>
            <a:schemeClr val="tx1"/>
          </a:solidFill>
          <a:latin typeface="+mn-lt"/>
          <a:ea typeface="+mn-ea"/>
          <a:cs typeface="+mn-cs"/>
        </a:defRPr>
      </a:lvl1pPr>
      <a:lvl2pPr marL="502920" algn="l" defTabSz="1005840" rtl="0" eaLnBrk="1" latinLnBrk="0" hangingPunct="1">
        <a:defRPr sz="1980" kern="1200">
          <a:solidFill>
            <a:schemeClr val="tx1"/>
          </a:solidFill>
          <a:latin typeface="+mn-lt"/>
          <a:ea typeface="+mn-ea"/>
          <a:cs typeface="+mn-cs"/>
        </a:defRPr>
      </a:lvl2pPr>
      <a:lvl3pPr marL="1005840" algn="l" defTabSz="1005840" rtl="0" eaLnBrk="1" latinLnBrk="0" hangingPunct="1">
        <a:defRPr sz="1980" kern="1200">
          <a:solidFill>
            <a:schemeClr val="tx1"/>
          </a:solidFill>
          <a:latin typeface="+mn-lt"/>
          <a:ea typeface="+mn-ea"/>
          <a:cs typeface="+mn-cs"/>
        </a:defRPr>
      </a:lvl3pPr>
      <a:lvl4pPr marL="1508760" algn="l" defTabSz="1005840" rtl="0" eaLnBrk="1" latinLnBrk="0" hangingPunct="1">
        <a:defRPr sz="1980" kern="1200">
          <a:solidFill>
            <a:schemeClr val="tx1"/>
          </a:solidFill>
          <a:latin typeface="+mn-lt"/>
          <a:ea typeface="+mn-ea"/>
          <a:cs typeface="+mn-cs"/>
        </a:defRPr>
      </a:lvl4pPr>
      <a:lvl5pPr marL="2011680" algn="l" defTabSz="1005840" rtl="0" eaLnBrk="1" latinLnBrk="0" hangingPunct="1">
        <a:defRPr sz="198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algn="l" defTabSz="1005840" rtl="0" eaLnBrk="1" latinLnBrk="0" hangingPunct="1">
        <a:defRPr sz="1980" kern="1200">
          <a:solidFill>
            <a:schemeClr val="tx1"/>
          </a:solidFill>
          <a:latin typeface="+mn-lt"/>
          <a:ea typeface="+mn-ea"/>
          <a:cs typeface="+mn-cs"/>
        </a:defRPr>
      </a:lvl6pPr>
      <a:lvl7pPr marL="3017520" algn="l" defTabSz="1005840" rtl="0" eaLnBrk="1" latinLnBrk="0" hangingPunct="1">
        <a:defRPr sz="1980" kern="1200">
          <a:solidFill>
            <a:schemeClr val="tx1"/>
          </a:solidFill>
          <a:latin typeface="+mn-lt"/>
          <a:ea typeface="+mn-ea"/>
          <a:cs typeface="+mn-cs"/>
        </a:defRPr>
      </a:lvl7pPr>
      <a:lvl8pPr marL="3520440" algn="l" defTabSz="1005840" rtl="0" eaLnBrk="1" latinLnBrk="0" hangingPunct="1">
        <a:defRPr sz="1980" kern="1200">
          <a:solidFill>
            <a:schemeClr val="tx1"/>
          </a:solidFill>
          <a:latin typeface="+mn-lt"/>
          <a:ea typeface="+mn-ea"/>
          <a:cs typeface="+mn-cs"/>
        </a:defRPr>
      </a:lvl8pPr>
      <a:lvl9pPr marL="4023360" algn="l" defTabSz="1005840" rtl="0" eaLnBrk="1" latinLnBrk="0" hangingPunct="1">
        <a:defRPr sz="198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PPT_Footer-image3.jpg"/>
          <p:cNvPicPr>
            <a:picLocks noChangeAspect="1"/>
          </p:cNvPicPr>
          <p:nvPr userDrawn="1"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82310"/>
            <a:ext cx="10058400" cy="2190090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6"/>
            </p:custDataLst>
          </p:nvPr>
        </p:nvGraphicFramePr>
        <p:xfrm>
          <a:off x="0" y="0"/>
          <a:ext cx="178182" cy="18357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4" imgW="360" imgH="360" progId="">
                  <p:embed/>
                </p:oleObj>
              </mc:Choice>
              <mc:Fallback>
                <p:oleObj name="think-cell Slide" r:id="rId34" imgW="360" imgH="360" progId="">
                  <p:embed/>
                  <p:pic>
                    <p:nvPicPr>
                      <p:cNvPr id="2" name="Object 1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3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8182" cy="18357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7"/>
            </p:custDataLst>
          </p:nvPr>
        </p:nvSpPr>
        <p:spPr bwMode="auto">
          <a:xfrm>
            <a:off x="1630372" y="2256089"/>
            <a:ext cx="4828745" cy="13542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8"/>
            </p:custDataLst>
          </p:nvPr>
        </p:nvSpPr>
        <p:spPr bwMode="auto">
          <a:xfrm>
            <a:off x="493623" y="485447"/>
            <a:ext cx="9384785" cy="3554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algn="l" defTabSz="1004772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02856" algn="l"/>
              </a:tabLst>
            </a:pPr>
            <a:r>
              <a:rPr lang="en-US" noProof="0" dirty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493622" y="232889"/>
            <a:ext cx="942566" cy="236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54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493623" y="856051"/>
            <a:ext cx="9384785" cy="2708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76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>
            <p:custDataLst>
              <p:tags r:id="rId11"/>
            </p:custDataLst>
          </p:nvPr>
        </p:nvGrpSpPr>
        <p:grpSpPr bwMode="auto">
          <a:xfrm>
            <a:off x="1630372" y="1533125"/>
            <a:ext cx="4785981" cy="627813"/>
            <a:chOff x="915" y="688"/>
            <a:chExt cx="2686" cy="34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88"/>
              <a:ext cx="2686" cy="34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980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sz="1980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grpSp>
        <p:nvGrpSpPr>
          <p:cNvPr id="65" name="LegendBoxes" hidden="1"/>
          <p:cNvGrpSpPr>
            <a:grpSpLocks/>
          </p:cNvGrpSpPr>
          <p:nvPr userDrawn="1">
            <p:custDataLst>
              <p:tags r:id="rId12"/>
            </p:custDataLst>
          </p:nvPr>
        </p:nvGrpSpPr>
        <p:grpSpPr bwMode="auto">
          <a:xfrm>
            <a:off x="9038471" y="563141"/>
            <a:ext cx="846933" cy="1124481"/>
            <a:chOff x="4936" y="176"/>
            <a:chExt cx="485" cy="625"/>
          </a:xfrm>
        </p:grpSpPr>
        <p:sp>
          <p:nvSpPr>
            <p:cNvPr id="66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5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4781">
                <a:buClr>
                  <a:srgbClr val="001F48"/>
                </a:buClr>
              </a:pPr>
              <a:r>
                <a:rPr lang="en-US" sz="132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67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98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8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5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4781">
                <a:buClr>
                  <a:srgbClr val="001F48"/>
                </a:buClr>
              </a:pPr>
              <a:r>
                <a:rPr lang="en-US" sz="132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69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98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5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4781">
                <a:buClr>
                  <a:srgbClr val="001F48"/>
                </a:buClr>
              </a:pPr>
              <a:r>
                <a:rPr lang="en-US" sz="132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71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98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2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5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4781">
                <a:buClr>
                  <a:srgbClr val="001F48"/>
                </a:buClr>
              </a:pPr>
              <a:r>
                <a:rPr lang="en-US" sz="132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73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980" dirty="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74" name="LegendLines" hidden="1"/>
          <p:cNvGrpSpPr>
            <a:grpSpLocks/>
          </p:cNvGrpSpPr>
          <p:nvPr userDrawn="1">
            <p:custDataLst>
              <p:tags r:id="rId13"/>
            </p:custDataLst>
          </p:nvPr>
        </p:nvGrpSpPr>
        <p:grpSpPr bwMode="auto">
          <a:xfrm>
            <a:off x="8699693" y="563141"/>
            <a:ext cx="1185705" cy="822221"/>
            <a:chOff x="4750" y="176"/>
            <a:chExt cx="679" cy="457"/>
          </a:xfrm>
        </p:grpSpPr>
        <p:sp>
          <p:nvSpPr>
            <p:cNvPr id="75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98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6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98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7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98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8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5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4781">
                <a:buClr>
                  <a:srgbClr val="001F48"/>
                </a:buClr>
              </a:pPr>
              <a:r>
                <a:rPr lang="en-US" sz="132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79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5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4781">
                <a:buClr>
                  <a:srgbClr val="001F48"/>
                </a:buClr>
              </a:pPr>
              <a:r>
                <a:rPr lang="en-US" sz="132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80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5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4781">
                <a:buClr>
                  <a:srgbClr val="001F48"/>
                </a:buClr>
              </a:pPr>
              <a:r>
                <a:rPr lang="en-US" sz="132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81" name="McKSticker" hidden="1"/>
          <p:cNvGrpSpPr/>
          <p:nvPr userDrawn="1">
            <p:custDataLst>
              <p:tags r:id="rId14"/>
            </p:custDataLst>
          </p:nvPr>
        </p:nvGrpSpPr>
        <p:grpSpPr bwMode="auto">
          <a:xfrm>
            <a:off x="8680918" y="563140"/>
            <a:ext cx="1197493" cy="245571"/>
            <a:chOff x="7652145" y="285750"/>
            <a:chExt cx="1088630" cy="216680"/>
          </a:xfrm>
        </p:grpSpPr>
        <p:sp>
          <p:nvSpPr>
            <p:cNvPr id="82" name="StickerRectangle"/>
            <p:cNvSpPr>
              <a:spLocks noChangeArrowheads="1"/>
            </p:cNvSpPr>
            <p:nvPr/>
          </p:nvSpPr>
          <p:spPr bwMode="auto">
            <a:xfrm>
              <a:off x="7679353" y="285750"/>
              <a:ext cx="1061422" cy="20367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84781">
                <a:buClr>
                  <a:srgbClr val="001F48"/>
                </a:buClr>
              </a:pPr>
              <a:r>
                <a:rPr lang="en-US" sz="1320" dirty="0">
                  <a:solidFill>
                    <a:srgbClr val="808080"/>
                  </a:solidFill>
                  <a:latin typeface="Arial"/>
                </a:rPr>
                <a:t>PRELIMINARY</a:t>
              </a:r>
            </a:p>
          </p:txBody>
        </p:sp>
        <p:cxnSp>
          <p:nvCxnSpPr>
            <p:cNvPr id="83" name="AutoShape 31"/>
            <p:cNvCxnSpPr>
              <a:cxnSpLocks noChangeShapeType="1"/>
              <a:stCxn id="82" idx="2"/>
              <a:endCxn id="82" idx="4"/>
            </p:cNvCxnSpPr>
            <p:nvPr/>
          </p:nvCxnSpPr>
          <p:spPr bwMode="auto">
            <a:xfrm>
              <a:off x="7652145" y="285750"/>
              <a:ext cx="0" cy="21668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4" name="AutoShape 32"/>
            <p:cNvCxnSpPr>
              <a:cxnSpLocks noChangeShapeType="1"/>
              <a:stCxn id="82" idx="4"/>
              <a:endCxn id="82" idx="6"/>
            </p:cNvCxnSpPr>
            <p:nvPr/>
          </p:nvCxnSpPr>
          <p:spPr bwMode="auto">
            <a:xfrm>
              <a:off x="7652145" y="502430"/>
              <a:ext cx="1088630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5" name="LegendMoons" hidden="1"/>
          <p:cNvGrpSpPr/>
          <p:nvPr userDrawn="1">
            <p:custDataLst>
              <p:tags r:id="rId15"/>
            </p:custDataLst>
          </p:nvPr>
        </p:nvGrpSpPr>
        <p:grpSpPr bwMode="auto">
          <a:xfrm>
            <a:off x="8964936" y="563140"/>
            <a:ext cx="920205" cy="1480718"/>
            <a:chOff x="6655594" y="273840"/>
            <a:chExt cx="836550" cy="1306516"/>
          </a:xfrm>
        </p:grpSpPr>
        <p:grpSp>
          <p:nvGrpSpPr>
            <p:cNvPr id="86" name="MoonLegend1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4" name="Oval 38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8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5" name="Arc 39"/>
              <p:cNvSpPr>
                <a:spLocks noChangeAspect="1"/>
              </p:cNvSpPr>
              <p:nvPr>
                <p:custDataLst>
                  <p:tags r:id="rId3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8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87" name="MoonLegend2"/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2" name="Oval 41"/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8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3" name="Arc 42"/>
              <p:cNvSpPr>
                <a:spLocks noChangeAspect="1"/>
              </p:cNvSpPr>
              <p:nvPr>
                <p:custDataLst>
                  <p:tags r:id="rId3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8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88" name="MoonLegend4"/>
            <p:cNvGrpSpPr>
              <a:grpSpLocks noChangeAspect="1"/>
            </p:cNvGrpSpPr>
            <p:nvPr>
              <p:custDataLst>
                <p:tags r:id="rId20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100" name="Oval 47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8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1" name="Arc 48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8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89" name="MoonLegend5"/>
            <p:cNvGrpSpPr>
              <a:grpSpLocks noChangeAspect="1"/>
            </p:cNvGrpSpPr>
            <p:nvPr>
              <p:custDataLst>
                <p:tags r:id="rId21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98" name="Oval 50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8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9" name="Oval 51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8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90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15875" cy="1792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4781">
                <a:buClr>
                  <a:srgbClr val="001F48"/>
                </a:buClr>
              </a:pPr>
              <a:r>
                <a:rPr lang="en-US" sz="132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91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15875" cy="1792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4781">
                <a:buClr>
                  <a:srgbClr val="001F48"/>
                </a:buClr>
              </a:pPr>
              <a:r>
                <a:rPr lang="en-US" sz="132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92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15875" cy="1792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4781">
                <a:buClr>
                  <a:srgbClr val="001F48"/>
                </a:buClr>
              </a:pPr>
              <a:r>
                <a:rPr lang="en-US" sz="132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93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15875" cy="1792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4781">
                <a:buClr>
                  <a:srgbClr val="001F48"/>
                </a:buClr>
              </a:pPr>
              <a:r>
                <a:rPr lang="en-US" sz="132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94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15875" cy="1792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4781">
                <a:buClr>
                  <a:srgbClr val="001F48"/>
                </a:buClr>
              </a:pPr>
              <a:r>
                <a:rPr lang="en-US" sz="132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grpSp>
          <p:nvGrpSpPr>
            <p:cNvPr id="95" name="MoonLegend3"/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96" name="Oval 47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8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7" name="Arc 48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8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grpSp>
        <p:nvGrpSpPr>
          <p:cNvPr id="106" name="McK Slide Elements" hidden="1"/>
          <p:cNvGrpSpPr/>
          <p:nvPr userDrawn="1">
            <p:custDataLst>
              <p:tags r:id="rId16"/>
            </p:custDataLst>
          </p:nvPr>
        </p:nvGrpSpPr>
        <p:grpSpPr bwMode="auto">
          <a:xfrm>
            <a:off x="493623" y="7269357"/>
            <a:ext cx="8980362" cy="412508"/>
            <a:chOff x="121488" y="6357160"/>
            <a:chExt cx="8794114" cy="363977"/>
          </a:xfrm>
        </p:grpSpPr>
        <p:sp>
          <p:nvSpPr>
            <p:cNvPr id="107" name="McK 4. Footnote"/>
            <p:cNvSpPr txBox="1">
              <a:spLocks noChangeArrowheads="1"/>
            </p:cNvSpPr>
            <p:nvPr/>
          </p:nvSpPr>
          <p:spPr bwMode="auto">
            <a:xfrm>
              <a:off x="121488" y="6357160"/>
              <a:ext cx="8794114" cy="1493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100" dirty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08" name="McK 5. Source"/>
            <p:cNvSpPr>
              <a:spLocks noChangeArrowheads="1"/>
            </p:cNvSpPr>
            <p:nvPr/>
          </p:nvSpPr>
          <p:spPr bwMode="auto">
            <a:xfrm>
              <a:off x="121488" y="6571775"/>
              <a:ext cx="8794112" cy="1493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673982" indent="-673982" defTabSz="1004772">
                <a:tabLst>
                  <a:tab pos="679219" algn="l"/>
                </a:tabLst>
              </a:pPr>
              <a:r>
                <a:rPr lang="en-US" sz="1100" dirty="0">
                  <a:solidFill>
                    <a:srgbClr val="000000"/>
                  </a:solidFill>
                  <a:latin typeface="Arial"/>
                </a:rPr>
                <a:t>SOURCE: Source</a:t>
              </a:r>
            </a:p>
          </p:txBody>
        </p:sp>
      </p:grpSp>
      <p:sp>
        <p:nvSpPr>
          <p:cNvPr id="54" name="Slide Number"/>
          <p:cNvSpPr txBox="1">
            <a:spLocks/>
          </p:cNvSpPr>
          <p:nvPr userDrawn="1">
            <p:custDataLst>
              <p:tags r:id="rId17"/>
            </p:custDataLst>
          </p:nvPr>
        </p:nvSpPr>
        <p:spPr>
          <a:xfrm>
            <a:off x="9706886" y="7510012"/>
            <a:ext cx="171521" cy="16927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1100" smtClean="0">
                <a:solidFill>
                  <a:schemeClr val="bg1"/>
                </a:solidFill>
              </a:rPr>
              <a:pPr lvl="0" algn="r"/>
              <a:t>‹#›</a:t>
            </a:fld>
            <a:endParaRPr lang="en-US" sz="11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84825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</p:sldLayoutIdLst>
  <p:hf hdr="0" ftr="0" dt="0"/>
  <p:txStyles>
    <p:titleStyle>
      <a:lvl1pPr algn="l" defTabSz="1004772" rtl="0" eaLnBrk="1" fontAlgn="base" hangingPunct="1">
        <a:spcBef>
          <a:spcPct val="0"/>
        </a:spcBef>
        <a:spcAft>
          <a:spcPct val="0"/>
        </a:spcAft>
        <a:tabLst>
          <a:tab pos="302856" algn="l"/>
        </a:tabLst>
        <a:defRPr lang="en-US" sz="2310" b="1" baseline="0" noProof="0" dirty="0" smtClean="0">
          <a:solidFill>
            <a:schemeClr val="tx2"/>
          </a:solidFill>
          <a:latin typeface="+mj-lt"/>
          <a:ea typeface="+mj-ea"/>
          <a:cs typeface="+mj-cs"/>
        </a:defRPr>
      </a:lvl1pPr>
      <a:lvl2pPr algn="l" defTabSz="1004772" rtl="0" eaLnBrk="1" fontAlgn="base" hangingPunct="1">
        <a:spcBef>
          <a:spcPct val="0"/>
        </a:spcBef>
        <a:spcAft>
          <a:spcPct val="0"/>
        </a:spcAft>
        <a:defRPr sz="2090" b="1">
          <a:solidFill>
            <a:schemeClr val="tx2"/>
          </a:solidFill>
          <a:latin typeface="Arial" charset="0"/>
        </a:defRPr>
      </a:lvl2pPr>
      <a:lvl3pPr algn="l" defTabSz="1004772" rtl="0" eaLnBrk="1" fontAlgn="base" hangingPunct="1">
        <a:spcBef>
          <a:spcPct val="0"/>
        </a:spcBef>
        <a:spcAft>
          <a:spcPct val="0"/>
        </a:spcAft>
        <a:defRPr sz="2090" b="1">
          <a:solidFill>
            <a:schemeClr val="tx2"/>
          </a:solidFill>
          <a:latin typeface="Arial" charset="0"/>
        </a:defRPr>
      </a:lvl3pPr>
      <a:lvl4pPr algn="l" defTabSz="1004772" rtl="0" eaLnBrk="1" fontAlgn="base" hangingPunct="1">
        <a:spcBef>
          <a:spcPct val="0"/>
        </a:spcBef>
        <a:spcAft>
          <a:spcPct val="0"/>
        </a:spcAft>
        <a:defRPr sz="2090" b="1">
          <a:solidFill>
            <a:schemeClr val="tx2"/>
          </a:solidFill>
          <a:latin typeface="Arial" charset="0"/>
        </a:defRPr>
      </a:lvl4pPr>
      <a:lvl5pPr algn="l" defTabSz="1004772" rtl="0" eaLnBrk="1" fontAlgn="base" hangingPunct="1">
        <a:spcBef>
          <a:spcPct val="0"/>
        </a:spcBef>
        <a:spcAft>
          <a:spcPct val="0"/>
        </a:spcAft>
        <a:defRPr sz="2090" b="1">
          <a:solidFill>
            <a:schemeClr val="tx2"/>
          </a:solidFill>
          <a:latin typeface="Arial" charset="0"/>
        </a:defRPr>
      </a:lvl5pPr>
      <a:lvl6pPr marL="513074" algn="l" defTabSz="1004772" rtl="0" eaLnBrk="1" fontAlgn="base" hangingPunct="1">
        <a:spcBef>
          <a:spcPct val="0"/>
        </a:spcBef>
        <a:spcAft>
          <a:spcPct val="0"/>
        </a:spcAft>
        <a:defRPr sz="2090" b="1">
          <a:solidFill>
            <a:schemeClr val="tx2"/>
          </a:solidFill>
          <a:latin typeface="Arial" charset="0"/>
        </a:defRPr>
      </a:lvl6pPr>
      <a:lvl7pPr marL="1026149" algn="l" defTabSz="1004772" rtl="0" eaLnBrk="1" fontAlgn="base" hangingPunct="1">
        <a:spcBef>
          <a:spcPct val="0"/>
        </a:spcBef>
        <a:spcAft>
          <a:spcPct val="0"/>
        </a:spcAft>
        <a:defRPr sz="2090" b="1">
          <a:solidFill>
            <a:schemeClr val="tx2"/>
          </a:solidFill>
          <a:latin typeface="Arial" charset="0"/>
        </a:defRPr>
      </a:lvl7pPr>
      <a:lvl8pPr marL="1539225" algn="l" defTabSz="1004772" rtl="0" eaLnBrk="1" fontAlgn="base" hangingPunct="1">
        <a:spcBef>
          <a:spcPct val="0"/>
        </a:spcBef>
        <a:spcAft>
          <a:spcPct val="0"/>
        </a:spcAft>
        <a:defRPr sz="2090" b="1">
          <a:solidFill>
            <a:schemeClr val="tx2"/>
          </a:solidFill>
          <a:latin typeface="Arial" charset="0"/>
        </a:defRPr>
      </a:lvl8pPr>
      <a:lvl9pPr marL="2052301" algn="l" defTabSz="1004772" rtl="0" eaLnBrk="1" fontAlgn="base" hangingPunct="1">
        <a:spcBef>
          <a:spcPct val="0"/>
        </a:spcBef>
        <a:spcAft>
          <a:spcPct val="0"/>
        </a:spcAft>
        <a:defRPr sz="2090" b="1">
          <a:solidFill>
            <a:schemeClr val="tx2"/>
          </a:solidFill>
          <a:latin typeface="Arial" charset="0"/>
        </a:defRPr>
      </a:lvl9pPr>
    </p:titleStyle>
    <p:bodyStyle>
      <a:lvl1pPr marL="0" indent="0" algn="l" defTabSz="1004772" rtl="0" eaLnBrk="1" fontAlgn="base" hangingPunct="1">
        <a:spcBef>
          <a:spcPct val="0"/>
        </a:spcBef>
        <a:spcAft>
          <a:spcPct val="0"/>
        </a:spcAft>
        <a:buClr>
          <a:schemeClr val="tx1"/>
        </a:buClr>
        <a:defRPr sz="1760" baseline="0">
          <a:solidFill>
            <a:schemeClr val="tx1"/>
          </a:solidFill>
          <a:latin typeface="+mn-lt"/>
          <a:ea typeface="+mn-ea"/>
          <a:cs typeface="+mn-cs"/>
        </a:defRPr>
      </a:lvl1pPr>
      <a:lvl2pPr marL="217345" indent="-215563" algn="l" defTabSz="1004772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5000"/>
        <a:buFont typeface="Arial" pitchFamily="34" charset="0"/>
        <a:buChar char="•"/>
        <a:defRPr sz="1760" baseline="0">
          <a:solidFill>
            <a:schemeClr val="tx1"/>
          </a:solidFill>
          <a:latin typeface="+mn-lt"/>
        </a:defRPr>
      </a:lvl2pPr>
      <a:lvl3pPr marL="513074" indent="-293950" algn="l" defTabSz="1004772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–"/>
        <a:defRPr sz="1760" baseline="0">
          <a:solidFill>
            <a:schemeClr val="tx1"/>
          </a:solidFill>
          <a:latin typeface="+mn-lt"/>
        </a:defRPr>
      </a:lvl3pPr>
      <a:lvl4pPr marL="689445" indent="-174588" algn="l" defTabSz="1004772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00000"/>
        <a:buFont typeface="Arial" pitchFamily="34" charset="0"/>
        <a:buChar char="•"/>
        <a:defRPr sz="1760" baseline="0">
          <a:solidFill>
            <a:schemeClr val="tx1"/>
          </a:solidFill>
          <a:latin typeface="+mn-lt"/>
        </a:defRPr>
      </a:lvl4pPr>
      <a:lvl5pPr marL="841442" indent="-146084" algn="l" defTabSz="1004772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89000"/>
        <a:buFont typeface="Arial" charset="0"/>
        <a:buChar char="-"/>
        <a:defRPr sz="1760" baseline="0">
          <a:solidFill>
            <a:schemeClr val="tx1"/>
          </a:solidFill>
          <a:latin typeface="+mn-lt"/>
        </a:defRPr>
      </a:lvl5pPr>
      <a:lvl6pPr marL="841442" indent="-146084" algn="l" defTabSz="100477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60" baseline="0">
          <a:solidFill>
            <a:schemeClr val="tx1"/>
          </a:solidFill>
          <a:latin typeface="+mn-lt"/>
        </a:defRPr>
      </a:lvl6pPr>
      <a:lvl7pPr marL="841442" indent="-146084" algn="l" defTabSz="100477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60" baseline="0">
          <a:solidFill>
            <a:schemeClr val="tx1"/>
          </a:solidFill>
          <a:latin typeface="+mn-lt"/>
        </a:defRPr>
      </a:lvl7pPr>
      <a:lvl8pPr marL="841442" indent="-146084" algn="l" defTabSz="100477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60" baseline="0">
          <a:solidFill>
            <a:schemeClr val="tx1"/>
          </a:solidFill>
          <a:latin typeface="+mn-lt"/>
        </a:defRPr>
      </a:lvl8pPr>
      <a:lvl9pPr marL="841442" indent="-146084" algn="l" defTabSz="100477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6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026149" rtl="0" eaLnBrk="1" latinLnBrk="0" hangingPunct="1">
        <a:defRPr sz="1980" kern="1200">
          <a:solidFill>
            <a:schemeClr val="tx1"/>
          </a:solidFill>
          <a:latin typeface="+mn-lt"/>
          <a:ea typeface="+mn-ea"/>
          <a:cs typeface="+mn-cs"/>
        </a:defRPr>
      </a:lvl1pPr>
      <a:lvl2pPr marL="513074" algn="l" defTabSz="1026149" rtl="0" eaLnBrk="1" latinLnBrk="0" hangingPunct="1">
        <a:defRPr sz="1980" kern="1200">
          <a:solidFill>
            <a:schemeClr val="tx1"/>
          </a:solidFill>
          <a:latin typeface="+mn-lt"/>
          <a:ea typeface="+mn-ea"/>
          <a:cs typeface="+mn-cs"/>
        </a:defRPr>
      </a:lvl2pPr>
      <a:lvl3pPr marL="1026149" algn="l" defTabSz="1026149" rtl="0" eaLnBrk="1" latinLnBrk="0" hangingPunct="1">
        <a:defRPr sz="1980" kern="1200">
          <a:solidFill>
            <a:schemeClr val="tx1"/>
          </a:solidFill>
          <a:latin typeface="+mn-lt"/>
          <a:ea typeface="+mn-ea"/>
          <a:cs typeface="+mn-cs"/>
        </a:defRPr>
      </a:lvl3pPr>
      <a:lvl4pPr marL="1539225" algn="l" defTabSz="1026149" rtl="0" eaLnBrk="1" latinLnBrk="0" hangingPunct="1">
        <a:defRPr sz="1980" kern="1200">
          <a:solidFill>
            <a:schemeClr val="tx1"/>
          </a:solidFill>
          <a:latin typeface="+mn-lt"/>
          <a:ea typeface="+mn-ea"/>
          <a:cs typeface="+mn-cs"/>
        </a:defRPr>
      </a:lvl4pPr>
      <a:lvl5pPr marL="2052301" algn="l" defTabSz="1026149" rtl="0" eaLnBrk="1" latinLnBrk="0" hangingPunct="1">
        <a:defRPr sz="1980" kern="1200">
          <a:solidFill>
            <a:schemeClr val="tx1"/>
          </a:solidFill>
          <a:latin typeface="+mn-lt"/>
          <a:ea typeface="+mn-ea"/>
          <a:cs typeface="+mn-cs"/>
        </a:defRPr>
      </a:lvl5pPr>
      <a:lvl6pPr marL="2565375" algn="l" defTabSz="1026149" rtl="0" eaLnBrk="1" latinLnBrk="0" hangingPunct="1">
        <a:defRPr sz="1980" kern="1200">
          <a:solidFill>
            <a:schemeClr val="tx1"/>
          </a:solidFill>
          <a:latin typeface="+mn-lt"/>
          <a:ea typeface="+mn-ea"/>
          <a:cs typeface="+mn-cs"/>
        </a:defRPr>
      </a:lvl6pPr>
      <a:lvl7pPr marL="3078449" algn="l" defTabSz="1026149" rtl="0" eaLnBrk="1" latinLnBrk="0" hangingPunct="1">
        <a:defRPr sz="1980" kern="1200">
          <a:solidFill>
            <a:schemeClr val="tx1"/>
          </a:solidFill>
          <a:latin typeface="+mn-lt"/>
          <a:ea typeface="+mn-ea"/>
          <a:cs typeface="+mn-cs"/>
        </a:defRPr>
      </a:lvl7pPr>
      <a:lvl8pPr marL="3591524" algn="l" defTabSz="1026149" rtl="0" eaLnBrk="1" latinLnBrk="0" hangingPunct="1">
        <a:defRPr sz="1980" kern="1200">
          <a:solidFill>
            <a:schemeClr val="tx1"/>
          </a:solidFill>
          <a:latin typeface="+mn-lt"/>
          <a:ea typeface="+mn-ea"/>
          <a:cs typeface="+mn-cs"/>
        </a:defRPr>
      </a:lvl8pPr>
      <a:lvl9pPr marL="4104598" algn="l" defTabSz="1026149" rtl="0" eaLnBrk="1" latinLnBrk="0" hangingPunct="1">
        <a:defRPr sz="198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uml.edu/Research/CPH-NEW/Healthy-Work-Participatory-Program/" TargetMode="External"/><Relationship Id="rId7" Type="http://schemas.openxmlformats.org/officeDocument/2006/relationships/hyperlink" Target="https://www.uml.edu/Research/CPH-NEW/Healthy-Work-Participatory-Program/generate-solutions/" TargetMode="Externa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uml.edu/Research/CPH-NEW/Healthy-Work-Participatory-Program/form-design-team/" TargetMode="External"/><Relationship Id="rId5" Type="http://schemas.openxmlformats.org/officeDocument/2006/relationships/hyperlink" Target="https://www.uml.edu/Research/CPH-NEW/Healthy-Work-Participatory-Program/Form-Program-Teams/" TargetMode="External"/><Relationship Id="rId4" Type="http://schemas.openxmlformats.org/officeDocument/2006/relationships/hyperlink" Target="http://www.uml.edu/cphnewtoolkit" TargetMode="Externa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Relationship Id="rId6" Type="http://schemas.openxmlformats.org/officeDocument/2006/relationships/diagramColors" Target="../diagrams/colors5.xml"/><Relationship Id="rId5" Type="http://schemas.openxmlformats.org/officeDocument/2006/relationships/diagramQuickStyle" Target="../diagrams/quickStyle5.xml"/><Relationship Id="rId4" Type="http://schemas.openxmlformats.org/officeDocument/2006/relationships/diagramLayout" Target="../diagrams/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6.xml"/><Relationship Id="rId7" Type="http://schemas.microsoft.com/office/2007/relationships/diagramDrawing" Target="../diagrams/drawing6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Relationship Id="rId6" Type="http://schemas.openxmlformats.org/officeDocument/2006/relationships/diagramColors" Target="../diagrams/colors6.xml"/><Relationship Id="rId5" Type="http://schemas.openxmlformats.org/officeDocument/2006/relationships/diagramQuickStyle" Target="../diagrams/quickStyle6.xml"/><Relationship Id="rId4" Type="http://schemas.openxmlformats.org/officeDocument/2006/relationships/diagramLayout" Target="../diagrams/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9200B516-5FCF-BE79-4B0E-C1758EDC7F21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529728" y="374919"/>
            <a:ext cx="8614272" cy="1015663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1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highlight>
                  <a:srgbClr val="FFFF00"/>
                </a:highlight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REMOVE THIS SLIDE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1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INSTRUCTIONS</a:t>
            </a:r>
            <a:endParaRPr kumimoji="0" lang="en-US" sz="3000" b="1" i="1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highlight>
                <a:srgbClr val="FFFF00"/>
              </a:highlight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Picture 8" descr="CPH-new logo&#10;">
            <a:extLst>
              <a:ext uri="{FF2B5EF4-FFF2-40B4-BE49-F238E27FC236}">
                <a16:creationId xmlns:a16="http://schemas.microsoft.com/office/drawing/2014/main" id="{D28330E8-8F34-86B5-9424-50416BA6139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3657" y="352742"/>
            <a:ext cx="2950072" cy="1005209"/>
          </a:xfrm>
          <a:prstGeom prst="rect">
            <a:avLst/>
          </a:prstGeom>
        </p:spPr>
      </p:pic>
      <p:sp>
        <p:nvSpPr>
          <p:cNvPr id="4" name="Shape 66">
            <a:extLst>
              <a:ext uri="{FF2B5EF4-FFF2-40B4-BE49-F238E27FC236}">
                <a16:creationId xmlns:a16="http://schemas.microsoft.com/office/drawing/2014/main" id="{0D1818C9-5296-B4DD-A3EB-475B6014DEE8}"/>
              </a:ext>
            </a:extLst>
          </p:cNvPr>
          <p:cNvSpPr txBox="1">
            <a:spLocks/>
          </p:cNvSpPr>
          <p:nvPr/>
        </p:nvSpPr>
        <p:spPr>
          <a:xfrm>
            <a:off x="580528" y="1451266"/>
            <a:ext cx="9144000" cy="2462182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spAutoFit/>
          </a:bodyPr>
          <a:lstStyle>
            <a:lvl1pPr algn="ctr" defTabSz="912813" rtl="0" eaLnBrk="1" fontAlgn="base" hangingPunct="1">
              <a:spcBef>
                <a:spcPct val="0"/>
              </a:spcBef>
              <a:spcAft>
                <a:spcPct val="0"/>
              </a:spcAft>
              <a:defRPr sz="3400" b="1" i="0" kern="1200">
                <a:solidFill>
                  <a:srgbClr val="0068B2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algn="ctr" defTabSz="912813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</a:defRPr>
            </a:lvl2pPr>
            <a:lvl3pPr algn="ctr" defTabSz="912813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</a:defRPr>
            </a:lvl3pPr>
            <a:lvl4pPr algn="ctr" defTabSz="912813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</a:defRPr>
            </a:lvl4pPr>
            <a:lvl5pPr algn="ctr" defTabSz="912813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</a:defRPr>
            </a:lvl5pPr>
            <a:lvl6pPr marL="457200" algn="ctr" defTabSz="912813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</a:defRPr>
            </a:lvl6pPr>
            <a:lvl7pPr marL="914400" algn="ctr" defTabSz="912813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</a:defRPr>
            </a:lvl7pPr>
            <a:lvl8pPr marL="1371600" algn="ctr" defTabSz="912813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</a:defRPr>
            </a:lvl8pPr>
            <a:lvl9pPr marL="1828800" algn="ctr" defTabSz="912813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</a:defRPr>
            </a:lvl9pPr>
          </a:lstStyle>
          <a:p>
            <a:pPr algn="l">
              <a:lnSpc>
                <a:spcPct val="150000"/>
              </a:lnSpc>
              <a:spcAft>
                <a:spcPts val="600"/>
              </a:spcAft>
              <a:buClr>
                <a:srgbClr val="0070C0"/>
              </a:buClr>
            </a:pPr>
            <a:r>
              <a:rPr lang="en-US" sz="2300" b="0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Use this slide deck to discuss and choose a team structure model that will work for your organization.</a:t>
            </a:r>
          </a:p>
          <a:p>
            <a:pPr algn="l">
              <a:lnSpc>
                <a:spcPct val="150000"/>
              </a:lnSpc>
              <a:spcAft>
                <a:spcPts val="600"/>
              </a:spcAft>
              <a:buClr>
                <a:srgbClr val="0070C0"/>
              </a:buClr>
            </a:pPr>
            <a:r>
              <a:rPr lang="en-US" sz="2300" b="0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Use the tools and resources in the box below to design countermeasures using a </a:t>
            </a:r>
            <a:r>
              <a:rPr lang="en-US" sz="2300" b="0" i="1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Total Worker Health</a:t>
            </a:r>
            <a:r>
              <a:rPr lang="en-US" sz="2300" b="0" baseline="30000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®</a:t>
            </a:r>
            <a:r>
              <a:rPr lang="en-US" sz="2300" b="0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approach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9FA1880-7204-071F-BDB3-1F82884D554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529729" y="1474695"/>
            <a:ext cx="9144000" cy="49456"/>
          </a:xfrm>
          <a:prstGeom prst="rect">
            <a:avLst/>
          </a:prstGeom>
          <a:solidFill>
            <a:srgbClr val="0068B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12A6C4F-BD80-0DC5-B957-576189F76A1C}"/>
              </a:ext>
            </a:extLst>
          </p:cNvPr>
          <p:cNvSpPr txBox="1">
            <a:spLocks/>
          </p:cNvSpPr>
          <p:nvPr/>
        </p:nvSpPr>
        <p:spPr>
          <a:xfrm>
            <a:off x="647700" y="6729393"/>
            <a:ext cx="9026028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Developed by the Center for the Promotion of Health in the New England Workplace with support from NIOSH grant #U19‐OH008857, 2022. </a:t>
            </a: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Total Worker Health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® is a registered trademark of the U.S. Department of Health and Human Services (HHS).  Participation by CPH-NEW does not imply endorsement by HHS, the Centers for Disease Control and Prevention, or the National Institute for Occupational Safety and Health (NIOSH). </a:t>
            </a:r>
            <a:endParaRPr kumimoji="0" lang="en-US" sz="4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27B7884-91C9-BD75-AE0F-7E40533E37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647700" y="3789253"/>
            <a:ext cx="9026028" cy="286232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endParaRPr lang="en-US" sz="1200" b="1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en-US" sz="1200" b="1" dirty="0">
                <a:latin typeface="Verdana" panose="020B0604030504040204" pitchFamily="34" charset="0"/>
                <a:ea typeface="Verdana" panose="020B0604030504040204" pitchFamily="34" charset="0"/>
              </a:rPr>
              <a:t>Healthy Workplace Participatory Program main page</a:t>
            </a:r>
            <a:endParaRPr lang="en-US" sz="1200" dirty="0">
              <a:latin typeface="Verdana" panose="020B0604030504040204" pitchFamily="34" charset="0"/>
              <a:ea typeface="Verdana" panose="020B0604030504040204" pitchFamily="34" charset="0"/>
              <a:hlinkClick r:id="rId3"/>
            </a:endParaRPr>
          </a:p>
          <a:p>
            <a:pPr marL="465138"/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hlinkClick r:id="rId4"/>
              </a:rPr>
              <a:t>www.uml.edu/cphnewtoolkit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</a:p>
          <a:p>
            <a:endParaRPr lang="en-US" sz="1200" b="1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en-US" sz="1200" b="1" dirty="0">
                <a:latin typeface="Verdana" panose="020B0604030504040204" pitchFamily="34" charset="0"/>
                <a:ea typeface="Verdana" panose="020B0604030504040204" pitchFamily="34" charset="0"/>
              </a:rPr>
              <a:t>Participatory Program Tools</a:t>
            </a:r>
          </a:p>
          <a:p>
            <a:pPr marL="174625"/>
            <a:endParaRPr lang="en-US" sz="1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60375" indent="-2857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</a:rPr>
              <a:t>Form Program Teams </a:t>
            </a:r>
          </a:p>
          <a:p>
            <a:pPr marL="465138"/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hlinkClick r:id="rId5"/>
              </a:rPr>
              <a:t>https://www.uml.edu/Research/CPH-NEW/Healthy-Work-Participatory-Program/Form-Program-Teams/</a:t>
            </a:r>
            <a:endParaRPr lang="en-US" sz="1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282575" indent="-107950"/>
            <a:endParaRPr lang="en-US" sz="1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60375" indent="-2857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</a:rPr>
              <a:t>Design Team Start-up Guide</a:t>
            </a:r>
          </a:p>
          <a:p>
            <a:pPr marL="465138" indent="1588"/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hlinkClick r:id="rId6"/>
              </a:rPr>
              <a:t>https://www.uml.edu/Research/CPH-NEW/Healthy-Work-Participatory-Program/form-design-team/</a:t>
            </a:r>
            <a:endParaRPr lang="en-US" sz="1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282575" indent="-107950"/>
            <a:endParaRPr lang="en-US" sz="1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60375" indent="-2857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</a:rPr>
              <a:t>Intervention Design and Analysis Scorecard (IDEAS) Tool</a:t>
            </a:r>
          </a:p>
          <a:p>
            <a:pPr marL="465138" indent="1588"/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hlinkClick r:id="rId7"/>
              </a:rPr>
              <a:t>https://www.uml.edu/Research/CPH-NEW/Healthy-Work-Participatory-Program/generate-solutions/</a:t>
            </a:r>
            <a:endParaRPr lang="en-US" sz="1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endParaRPr lang="en-US" sz="12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10819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19911615-5BBF-48CF-864C-3C65C711BC4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227195" y="5011666"/>
            <a:ext cx="9592790" cy="109728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D48B2147-07F6-4200-A203-7A40FF78C6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232805" y="6260368"/>
            <a:ext cx="9592790" cy="9144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E589803E-053A-4B84-806E-ABECBE87928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243820" y="3759122"/>
            <a:ext cx="9592790" cy="109728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D50083A3-0988-49A6-A965-863ACF3341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232805" y="2689094"/>
            <a:ext cx="9592790" cy="9144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C6D783F6-770B-4B88-8CC0-63F2C14BE4D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90141" y="1639866"/>
            <a:ext cx="9592790" cy="9144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9" name="Title 38">
            <a:extLst>
              <a:ext uri="{FF2B5EF4-FFF2-40B4-BE49-F238E27FC236}">
                <a16:creationId xmlns:a16="http://schemas.microsoft.com/office/drawing/2014/main" id="{2992F77D-4B8E-433F-A899-BE660D6036E9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-255185" y="64893"/>
            <a:ext cx="10568771" cy="46166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Narrow" panose="020B0606020202030204" pitchFamily="34" charset="0"/>
                <a:ea typeface="Verdana" panose="020B0604030504040204" pitchFamily="34" charset="0"/>
                <a:cs typeface="+mn-cs"/>
              </a:rPr>
              <a:t>GUIDE FOR STEERING COMMITTEE AND DESIGN TEAM FORMATION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5E1F718A-6F47-4253-B54F-2E93891F209C}"/>
              </a:ext>
            </a:extLst>
          </p:cNvPr>
          <p:cNvSpPr txBox="1"/>
          <p:nvPr/>
        </p:nvSpPr>
        <p:spPr>
          <a:xfrm>
            <a:off x="4933503" y="7169632"/>
            <a:ext cx="142476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200" b="1" dirty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  <a:ea typeface="Verdana" panose="020B0604030504040204" pitchFamily="34" charset="0"/>
              </a:rPr>
              <a:t>Feedback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E1167E6-EC96-4ADB-B828-ACBA882A424F}"/>
              </a:ext>
            </a:extLst>
          </p:cNvPr>
          <p:cNvSpPr txBox="1"/>
          <p:nvPr/>
        </p:nvSpPr>
        <p:spPr>
          <a:xfrm>
            <a:off x="1744657" y="1145635"/>
            <a:ext cx="347705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  <a:ea typeface="Verdana" panose="020B0604030504040204" pitchFamily="34" charset="0"/>
              </a:rPr>
              <a:t>STEERING COMMITTEE 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BD6477BB-E465-4269-8896-A49F521ECD4C}"/>
              </a:ext>
            </a:extLst>
          </p:cNvPr>
          <p:cNvSpPr txBox="1"/>
          <p:nvPr/>
        </p:nvSpPr>
        <p:spPr>
          <a:xfrm>
            <a:off x="65357" y="1927064"/>
            <a:ext cx="1669139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en-US"/>
            </a:defPPr>
            <a:lvl1pPr algn="ctr">
              <a:defRPr>
                <a:solidFill>
                  <a:schemeClr val="dk1"/>
                </a:solidFill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en-US" b="1" dirty="0">
                <a:solidFill>
                  <a:schemeClr val="tx1"/>
                </a:solidFill>
                <a:latin typeface="Arial Narrow" panose="020B0606020202030204" pitchFamily="34" charset="0"/>
              </a:rPr>
              <a:t>PURPOSE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1519F4E-0047-47EC-84DE-B3831ECD084E}"/>
              </a:ext>
            </a:extLst>
          </p:cNvPr>
          <p:cNvSpPr txBox="1"/>
          <p:nvPr/>
        </p:nvSpPr>
        <p:spPr>
          <a:xfrm>
            <a:off x="1531481" y="1964730"/>
            <a:ext cx="3890049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500" b="1" dirty="0">
                <a:solidFill>
                  <a:schemeClr val="accent5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versight  Resources  Evaluation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97C2555-AE58-4AF0-9BA3-B298D8B85406}"/>
              </a:ext>
            </a:extLst>
          </p:cNvPr>
          <p:cNvSpPr txBox="1"/>
          <p:nvPr/>
        </p:nvSpPr>
        <p:spPr>
          <a:xfrm>
            <a:off x="65357" y="2950925"/>
            <a:ext cx="1669139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b="1">
                <a:latin typeface="Arial Narrow" panose="020B0606020202030204" pitchFamily="34" charset="0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en-US" dirty="0"/>
              <a:t>MEMBER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6FE9BE8F-3DB2-448F-9CD2-E9CAA516A629}"/>
              </a:ext>
            </a:extLst>
          </p:cNvPr>
          <p:cNvSpPr txBox="1"/>
          <p:nvPr/>
        </p:nvSpPr>
        <p:spPr>
          <a:xfrm>
            <a:off x="1908896" y="2743778"/>
            <a:ext cx="3235261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3038" indent="-173038"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accent5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xecutive/senior leaders</a:t>
            </a:r>
          </a:p>
          <a:p>
            <a:pPr marL="173038" indent="-173038"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accent5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iddle managers</a:t>
            </a:r>
          </a:p>
          <a:p>
            <a:pPr marL="173038" indent="-173038"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accent5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Key stakeholder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D7E8C86-8136-4CE2-80C2-B88184F4962E}"/>
              </a:ext>
            </a:extLst>
          </p:cNvPr>
          <p:cNvSpPr txBox="1"/>
          <p:nvPr/>
        </p:nvSpPr>
        <p:spPr>
          <a:xfrm>
            <a:off x="95017" y="4102272"/>
            <a:ext cx="16098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dk1"/>
                </a:solidFill>
                <a:latin typeface="Arial Narrow" panose="020B0606020202030204" pitchFamily="34" charset="0"/>
              </a:rPr>
              <a:t>ROLES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FF4B9DAC-B754-4D4C-B009-A9ED952D4C03}"/>
              </a:ext>
            </a:extLst>
          </p:cNvPr>
          <p:cNvSpPr txBox="1"/>
          <p:nvPr/>
        </p:nvSpPr>
        <p:spPr>
          <a:xfrm>
            <a:off x="1908896" y="3802803"/>
            <a:ext cx="371548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3038" indent="-173038"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accent5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Forms and oversees DTs</a:t>
            </a:r>
          </a:p>
          <a:p>
            <a:pPr marL="173038" indent="-173038"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accent5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mmunicates to organization</a:t>
            </a:r>
          </a:p>
          <a:p>
            <a:pPr marL="173038" indent="-173038"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accent5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ecures resources </a:t>
            </a:r>
          </a:p>
          <a:p>
            <a:pPr marL="173038" indent="-173038"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accent5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valuates countermeasure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EA6093E-E403-4B3C-91FB-60280CDC41AD}"/>
              </a:ext>
            </a:extLst>
          </p:cNvPr>
          <p:cNvSpPr txBox="1"/>
          <p:nvPr/>
        </p:nvSpPr>
        <p:spPr>
          <a:xfrm>
            <a:off x="95484" y="5357528"/>
            <a:ext cx="16088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dk1"/>
                </a:solidFill>
                <a:latin typeface="Arial Narrow" panose="020B0606020202030204" pitchFamily="34" charset="0"/>
              </a:rPr>
              <a:t>QUALITI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FDE04D9-3901-4749-8B99-2008ABBCA8D3}"/>
              </a:ext>
            </a:extLst>
          </p:cNvPr>
          <p:cNvSpPr txBox="1"/>
          <p:nvPr/>
        </p:nvSpPr>
        <p:spPr>
          <a:xfrm>
            <a:off x="1908896" y="5033544"/>
            <a:ext cx="372834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3038" indent="-173038"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accent5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Budget and policy authority</a:t>
            </a:r>
          </a:p>
          <a:p>
            <a:pPr marL="173038" indent="-173038"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accent5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ntinuous improvement focus</a:t>
            </a:r>
          </a:p>
          <a:p>
            <a:pPr marL="173038" indent="-173038"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accent5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nterested in employee safety, health and well-being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B17FFFA-9CCA-4998-BEB2-865AC22239B3}"/>
              </a:ext>
            </a:extLst>
          </p:cNvPr>
          <p:cNvSpPr txBox="1"/>
          <p:nvPr/>
        </p:nvSpPr>
        <p:spPr>
          <a:xfrm>
            <a:off x="99758" y="6399287"/>
            <a:ext cx="160033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dk1"/>
                </a:solidFill>
                <a:latin typeface="Arial Narrow" panose="020B0606020202030204" pitchFamily="34" charset="0"/>
              </a:rPr>
              <a:t>MEETING</a:t>
            </a:r>
            <a:r>
              <a:rPr lang="en-US" b="1" dirty="0">
                <a:solidFill>
                  <a:schemeClr val="accent2">
                    <a:lumMod val="75000"/>
                  </a:schemeClr>
                </a:solidFill>
                <a:latin typeface="Arial Narrow" panose="020B0606020202030204" pitchFamily="34" charset="0"/>
                <a:ea typeface="Verdana" panose="020B0604030504040204" pitchFamily="34" charset="0"/>
              </a:rPr>
              <a:t> </a:t>
            </a:r>
            <a:r>
              <a:rPr lang="en-US" b="1" dirty="0">
                <a:solidFill>
                  <a:schemeClr val="dk1"/>
                </a:solidFill>
                <a:latin typeface="Arial Narrow" panose="020B0606020202030204" pitchFamily="34" charset="0"/>
              </a:rPr>
              <a:t>FREQUENCY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983143D9-7117-4064-90DD-DA7A2F8FD393}"/>
              </a:ext>
            </a:extLst>
          </p:cNvPr>
          <p:cNvSpPr txBox="1"/>
          <p:nvPr/>
        </p:nvSpPr>
        <p:spPr>
          <a:xfrm>
            <a:off x="1908896" y="6445944"/>
            <a:ext cx="284668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3038" indent="-173038"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accent5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Less frequent – 1 per month or as needed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EEE121E-DBA5-4FC5-932C-3D4A10B0940D}"/>
              </a:ext>
            </a:extLst>
          </p:cNvPr>
          <p:cNvSpPr txBox="1"/>
          <p:nvPr/>
        </p:nvSpPr>
        <p:spPr>
          <a:xfrm>
            <a:off x="6150899" y="1145164"/>
            <a:ext cx="293169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solidFill>
                  <a:schemeClr val="accent6">
                    <a:lumMod val="50000"/>
                  </a:schemeClr>
                </a:solidFill>
                <a:latin typeface="Arial Narrow" panose="020B0606020202030204" pitchFamily="34" charset="0"/>
                <a:ea typeface="Verdana" panose="020B0604030504040204" pitchFamily="34" charset="0"/>
              </a:rPr>
              <a:t>DESIGN TEAM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75A5ABDF-30F8-4061-88F1-CEE1B98576BE}"/>
              </a:ext>
            </a:extLst>
          </p:cNvPr>
          <p:cNvSpPr txBox="1"/>
          <p:nvPr/>
        </p:nvSpPr>
        <p:spPr>
          <a:xfrm>
            <a:off x="5907164" y="1935281"/>
            <a:ext cx="3531225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5563"/>
            <a:r>
              <a:rPr lang="en-US" sz="1500" b="1" dirty="0">
                <a:solidFill>
                  <a:schemeClr val="accent6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oot Causes   Solution Design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CEF069A-F1D2-4956-B99B-BB3A846DF82F}"/>
              </a:ext>
            </a:extLst>
          </p:cNvPr>
          <p:cNvSpPr txBox="1"/>
          <p:nvPr/>
        </p:nvSpPr>
        <p:spPr>
          <a:xfrm>
            <a:off x="6218763" y="2628362"/>
            <a:ext cx="242531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3038" indent="-173038"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accent6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Front-line employees</a:t>
            </a:r>
          </a:p>
          <a:p>
            <a:pPr marL="173038" indent="-173038"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accent6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upervisors </a:t>
            </a:r>
          </a:p>
          <a:p>
            <a:pPr marL="173038" indent="-173038"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accent6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o subordinate pairs</a:t>
            </a:r>
          </a:p>
          <a:p>
            <a:pPr marL="173038" indent="-173038"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accent6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4-8 members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8C56E893-A4D5-4949-B0E3-753D06C119B8}"/>
              </a:ext>
            </a:extLst>
          </p:cNvPr>
          <p:cNvSpPr txBox="1"/>
          <p:nvPr/>
        </p:nvSpPr>
        <p:spPr>
          <a:xfrm>
            <a:off x="6151443" y="3687387"/>
            <a:ext cx="3497441" cy="12464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7013" indent="-171450"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accent6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ssesses root causes</a:t>
            </a:r>
          </a:p>
          <a:p>
            <a:pPr marL="227013" indent="-171450"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accent6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velops countermeasures </a:t>
            </a:r>
          </a:p>
          <a:p>
            <a:pPr marL="227013" indent="-171450"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accent6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velops business case</a:t>
            </a:r>
          </a:p>
          <a:p>
            <a:pPr marL="227013" indent="-171450"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accent6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Generates worker support for countermeasures 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0256B96-47F4-4A15-BBA2-DECDE5612052}"/>
              </a:ext>
            </a:extLst>
          </p:cNvPr>
          <p:cNvSpPr txBox="1"/>
          <p:nvPr/>
        </p:nvSpPr>
        <p:spPr>
          <a:xfrm>
            <a:off x="6218763" y="5033544"/>
            <a:ext cx="293169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3038" indent="-173038"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accent6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lose to “production” work </a:t>
            </a:r>
          </a:p>
          <a:p>
            <a:pPr marL="173038" indent="-173038"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accent6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espected, team players</a:t>
            </a:r>
          </a:p>
          <a:p>
            <a:pPr marL="173038" indent="-173038"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accent6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vailable to meet regularly</a:t>
            </a:r>
          </a:p>
          <a:p>
            <a:pPr marL="173038" indent="-173038"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accent6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pen to learning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D5B8FCBA-AA8B-4D39-BB78-E83C4A31896E}"/>
              </a:ext>
            </a:extLst>
          </p:cNvPr>
          <p:cNvSpPr txBox="1"/>
          <p:nvPr/>
        </p:nvSpPr>
        <p:spPr>
          <a:xfrm>
            <a:off x="6218763" y="6440333"/>
            <a:ext cx="293169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3038" indent="-173038"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accent6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ore frequent – every 2-3 week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710D0B6-29F1-47A2-BDCF-3BC05FCA81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2026359" y="1544939"/>
            <a:ext cx="2931692" cy="4572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6EB1ACA-C6C1-4011-9F3D-6C26DC55AD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307977" y="1551887"/>
            <a:ext cx="2931692" cy="4572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360B174-456F-474E-BE7F-87FC86FF5D8A}"/>
              </a:ext>
            </a:extLst>
          </p:cNvPr>
          <p:cNvSpPr txBox="1"/>
          <p:nvPr/>
        </p:nvSpPr>
        <p:spPr>
          <a:xfrm>
            <a:off x="4901613" y="666806"/>
            <a:ext cx="138899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200" b="1" dirty="0">
                <a:solidFill>
                  <a:schemeClr val="accent6">
                    <a:lumMod val="50000"/>
                  </a:schemeClr>
                </a:solidFill>
                <a:latin typeface="Arial Narrow" panose="020B0606020202030204" pitchFamily="34" charset="0"/>
                <a:ea typeface="Verdana" panose="020B0604030504040204" pitchFamily="34" charset="0"/>
              </a:rPr>
              <a:t>Feedback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19752CC1-E2F1-466B-9AFD-95FFC0C3981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612447" y="991857"/>
            <a:ext cx="3758593" cy="6287977"/>
          </a:xfrm>
          <a:prstGeom prst="roundRect">
            <a:avLst/>
          </a:prstGeom>
          <a:noFill/>
          <a:ln w="28575">
            <a:solidFill>
              <a:srgbClr val="0070C0"/>
            </a:solidFill>
            <a:prstDash val="sys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: Rounded Corners 48">
            <a:extLst>
              <a:ext uri="{FF2B5EF4-FFF2-40B4-BE49-F238E27FC236}">
                <a16:creationId xmlns:a16="http://schemas.microsoft.com/office/drawing/2014/main" id="{1351D7CF-30B3-4C56-8A50-961459140B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5771488" y="991857"/>
            <a:ext cx="3758184" cy="6287977"/>
          </a:xfrm>
          <a:prstGeom prst="roundRect">
            <a:avLst/>
          </a:prstGeom>
          <a:noFill/>
          <a:ln w="28575">
            <a:solidFill>
              <a:schemeClr val="accent6">
                <a:lumMod val="50000"/>
              </a:schemeClr>
            </a:solidFill>
            <a:prstDash val="sys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Arrow: Curved Up 49">
            <a:extLst>
              <a:ext uri="{FF2B5EF4-FFF2-40B4-BE49-F238E27FC236}">
                <a16:creationId xmlns:a16="http://schemas.microsoft.com/office/drawing/2014/main" id="{8BCA4E0A-AEA5-4246-A6A1-F74ACE7B9CE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flipH="1" flipV="1">
            <a:off x="3006366" y="607066"/>
            <a:ext cx="4258956" cy="381876"/>
          </a:xfrm>
          <a:prstGeom prst="curvedUpArrow">
            <a:avLst>
              <a:gd name="adj1" fmla="val 322905"/>
              <a:gd name="adj2" fmla="val 322905"/>
              <a:gd name="adj3" fmla="val 25000"/>
            </a:avLst>
          </a:prstGeom>
          <a:noFill/>
          <a:ln w="28575">
            <a:solidFill>
              <a:schemeClr val="accent6">
                <a:lumMod val="50000"/>
              </a:schemeClr>
            </a:solidFill>
            <a:prstDash val="sys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dk1"/>
              </a:solidFill>
            </a:endParaRPr>
          </a:p>
        </p:txBody>
      </p:sp>
      <p:sp>
        <p:nvSpPr>
          <p:cNvPr id="4" name="Arrow: Curved Up 3">
            <a:extLst>
              <a:ext uri="{FF2B5EF4-FFF2-40B4-BE49-F238E27FC236}">
                <a16:creationId xmlns:a16="http://schemas.microsoft.com/office/drawing/2014/main" id="{CD03D178-91FD-4EE3-8A2B-43AE960BC4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538178" y="7281779"/>
            <a:ext cx="4258956" cy="404784"/>
          </a:xfrm>
          <a:prstGeom prst="curvedUpArrow">
            <a:avLst>
              <a:gd name="adj1" fmla="val 322905"/>
              <a:gd name="adj2" fmla="val 322905"/>
              <a:gd name="adj3" fmla="val 25000"/>
            </a:avLst>
          </a:prstGeom>
          <a:noFill/>
          <a:ln w="28575">
            <a:solidFill>
              <a:srgbClr val="0070C0"/>
            </a:solidFill>
            <a:prstDash val="sys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dk1"/>
              </a:solidFill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C198C926-8339-7EF7-5740-DB5B24512E7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/>
        </p:nvSpPr>
        <p:spPr>
          <a:xfrm>
            <a:off x="-1" y="-300522"/>
            <a:ext cx="1222173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1400" b="1" i="0" u="none" strike="noStrike" baseline="0" dirty="0">
                <a:latin typeface="Calibri" panose="020F0502020204030204" pitchFamily="34" charset="0"/>
              </a:rPr>
              <a:t>Developed by the Center for the Promotion of Health in the New England Workplace with support from NIOSH grant #U19‐OH008857, 2022.</a:t>
            </a:r>
            <a:endParaRPr lang="en-US" sz="4000" b="1" dirty="0"/>
          </a:p>
        </p:txBody>
      </p:sp>
    </p:spTree>
    <p:extLst>
      <p:ext uri="{BB962C8B-B14F-4D97-AF65-F5344CB8AC3E}">
        <p14:creationId xmlns:p14="http://schemas.microsoft.com/office/powerpoint/2010/main" val="7543340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7035" y="619550"/>
            <a:ext cx="8675370" cy="1765062"/>
          </a:xfrm>
        </p:spPr>
        <p:txBody>
          <a:bodyPr>
            <a:normAutofit/>
          </a:bodyPr>
          <a:lstStyle/>
          <a:p>
            <a:pPr algn="ctr"/>
            <a:r>
              <a:rPr lang="en-US" sz="4400" b="1" dirty="0">
                <a:solidFill>
                  <a:srgbClr val="002060"/>
                </a:solidFill>
                <a:latin typeface="Arial Narrow" panose="020B0606020202030204" pitchFamily="34" charset="0"/>
                <a:ea typeface="Verdana" panose="020B0604030504040204" pitchFamily="34" charset="0"/>
              </a:rPr>
              <a:t>SC-DT Participatory Structure  </a:t>
            </a:r>
            <a:br>
              <a:rPr lang="en-US" sz="4400" b="1" dirty="0">
                <a:solidFill>
                  <a:srgbClr val="002060"/>
                </a:solidFill>
                <a:latin typeface="Arial Narrow" panose="020B0606020202030204" pitchFamily="34" charset="0"/>
                <a:ea typeface="Verdana" panose="020B0604030504040204" pitchFamily="34" charset="0"/>
              </a:rPr>
            </a:br>
            <a:r>
              <a:rPr lang="en-US" sz="4400" dirty="0">
                <a:solidFill>
                  <a:srgbClr val="0070C0"/>
                </a:solidFill>
                <a:latin typeface="Arial Narrow" panose="020B0606020202030204" pitchFamily="34" charset="0"/>
                <a:ea typeface="Verdana" panose="020B0604030504040204" pitchFamily="34" charset="0"/>
              </a:rPr>
              <a:t>Large, organizational initiative</a:t>
            </a:r>
          </a:p>
        </p:txBody>
      </p:sp>
      <p:graphicFrame>
        <p:nvGraphicFramePr>
          <p:cNvPr id="4" name="Content Placeholder 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354941492"/>
              </p:ext>
            </p:extLst>
          </p:nvPr>
        </p:nvGraphicFramePr>
        <p:xfrm>
          <a:off x="373495" y="2636520"/>
          <a:ext cx="9442450" cy="371856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88840340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7035" y="619550"/>
            <a:ext cx="8675370" cy="1765062"/>
          </a:xfrm>
        </p:spPr>
        <p:txBody>
          <a:bodyPr>
            <a:normAutofit fontScale="90000"/>
          </a:bodyPr>
          <a:lstStyle/>
          <a:p>
            <a:pPr algn="ctr"/>
            <a:r>
              <a:rPr lang="en-US" b="1" dirty="0">
                <a:solidFill>
                  <a:srgbClr val="002060"/>
                </a:solidFill>
                <a:latin typeface="Arial Narrow" panose="020B0606020202030204" pitchFamily="34" charset="0"/>
              </a:rPr>
              <a:t>EXAMPLE </a:t>
            </a:r>
            <a:br>
              <a:rPr lang="en-US" b="1" dirty="0">
                <a:solidFill>
                  <a:srgbClr val="002060"/>
                </a:solidFill>
                <a:latin typeface="Arial Narrow" panose="020B0606020202030204" pitchFamily="34" charset="0"/>
              </a:rPr>
            </a:br>
            <a:r>
              <a:rPr lang="en-US" b="1" dirty="0">
                <a:solidFill>
                  <a:srgbClr val="002060"/>
                </a:solidFill>
                <a:latin typeface="Arial Narrow" panose="020B0606020202030204" pitchFamily="34" charset="0"/>
              </a:rPr>
              <a:t>Safe Patient Handling Lean Initiative: </a:t>
            </a:r>
            <a:br>
              <a:rPr lang="en-US" b="1" dirty="0">
                <a:latin typeface="Arial Narrow" panose="020B0606020202030204" pitchFamily="34" charset="0"/>
              </a:rPr>
            </a:br>
            <a:r>
              <a:rPr lang="en-US" dirty="0">
                <a:solidFill>
                  <a:srgbClr val="0070C0"/>
                </a:solidFill>
                <a:latin typeface="Arial Narrow" panose="020B0606020202030204" pitchFamily="34" charset="0"/>
              </a:rPr>
              <a:t>Large, organizational initiative</a:t>
            </a:r>
          </a:p>
        </p:txBody>
      </p:sp>
      <p:graphicFrame>
        <p:nvGraphicFramePr>
          <p:cNvPr id="4" name="Content Placeholder 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93076682"/>
              </p:ext>
            </p:extLst>
          </p:nvPr>
        </p:nvGraphicFramePr>
        <p:xfrm>
          <a:off x="373495" y="2636520"/>
          <a:ext cx="9442450" cy="371856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7302782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7035" y="619550"/>
            <a:ext cx="8675370" cy="1765062"/>
          </a:xfrm>
        </p:spPr>
        <p:txBody>
          <a:bodyPr>
            <a:normAutofit/>
          </a:bodyPr>
          <a:lstStyle/>
          <a:p>
            <a:pPr algn="ctr"/>
            <a:r>
              <a:rPr lang="en-US" b="1" dirty="0">
                <a:solidFill>
                  <a:srgbClr val="002060"/>
                </a:solidFill>
                <a:latin typeface="Arial Narrow" panose="020B0606020202030204" pitchFamily="34" charset="0"/>
              </a:rPr>
              <a:t>SC-DT Participatory Structure  </a:t>
            </a:r>
            <a:br>
              <a:rPr lang="en-US" b="1" dirty="0">
                <a:solidFill>
                  <a:srgbClr val="002060"/>
                </a:solidFill>
                <a:latin typeface="Arial Narrow" panose="020B0606020202030204" pitchFamily="34" charset="0"/>
              </a:rPr>
            </a:br>
            <a:r>
              <a:rPr lang="en-US" dirty="0">
                <a:solidFill>
                  <a:srgbClr val="0070C0"/>
                </a:solidFill>
                <a:latin typeface="Arial Narrow" panose="020B0606020202030204" pitchFamily="34" charset="0"/>
              </a:rPr>
              <a:t>Small, unit-based initiative</a:t>
            </a:r>
          </a:p>
        </p:txBody>
      </p:sp>
      <p:graphicFrame>
        <p:nvGraphicFramePr>
          <p:cNvPr id="4" name="Content Placeholder 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6274427"/>
              </p:ext>
            </p:extLst>
          </p:nvPr>
        </p:nvGraphicFramePr>
        <p:xfrm>
          <a:off x="373495" y="2636520"/>
          <a:ext cx="9442450" cy="371856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35523314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7035" y="619550"/>
            <a:ext cx="8675370" cy="1765062"/>
          </a:xfrm>
        </p:spPr>
        <p:txBody>
          <a:bodyPr>
            <a:normAutofit fontScale="90000"/>
          </a:bodyPr>
          <a:lstStyle/>
          <a:p>
            <a:pPr algn="ctr"/>
            <a:r>
              <a:rPr lang="en-US" b="1" dirty="0">
                <a:solidFill>
                  <a:srgbClr val="002060"/>
                </a:solidFill>
                <a:latin typeface="Arial Narrow" panose="020B0606020202030204" pitchFamily="34" charset="0"/>
              </a:rPr>
              <a:t>EXAMPLE</a:t>
            </a:r>
            <a:br>
              <a:rPr lang="en-US" b="1" dirty="0">
                <a:solidFill>
                  <a:srgbClr val="002060"/>
                </a:solidFill>
                <a:latin typeface="Arial Narrow" panose="020B0606020202030204" pitchFamily="34" charset="0"/>
              </a:rPr>
            </a:br>
            <a:r>
              <a:rPr lang="en-US" b="1" dirty="0">
                <a:solidFill>
                  <a:srgbClr val="002060"/>
                </a:solidFill>
                <a:latin typeface="Arial Narrow" panose="020B0606020202030204" pitchFamily="34" charset="0"/>
              </a:rPr>
              <a:t>Safe Patient Handling Lean Initiative: </a:t>
            </a:r>
            <a:br>
              <a:rPr lang="en-US" b="1" dirty="0">
                <a:latin typeface="Arial Narrow" panose="020B0606020202030204" pitchFamily="34" charset="0"/>
              </a:rPr>
            </a:br>
            <a:r>
              <a:rPr lang="en-US" dirty="0">
                <a:solidFill>
                  <a:srgbClr val="0070C0"/>
                </a:solidFill>
                <a:latin typeface="Arial Narrow" panose="020B0606020202030204" pitchFamily="34" charset="0"/>
              </a:rPr>
              <a:t>Single hospital unit</a:t>
            </a:r>
          </a:p>
        </p:txBody>
      </p:sp>
      <p:graphicFrame>
        <p:nvGraphicFramePr>
          <p:cNvPr id="4" name="Content Placeholder 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797978728"/>
              </p:ext>
            </p:extLst>
          </p:nvPr>
        </p:nvGraphicFramePr>
        <p:xfrm>
          <a:off x="373495" y="2636520"/>
          <a:ext cx="9442450" cy="371856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" name="Rounded Rectangle 2"/>
          <p:cNvSpPr/>
          <p:nvPr/>
        </p:nvSpPr>
        <p:spPr>
          <a:xfrm>
            <a:off x="6866969" y="4993341"/>
            <a:ext cx="2716305" cy="1361739"/>
          </a:xfrm>
          <a:prstGeom prst="roundRect">
            <a:avLst/>
          </a:prstGeom>
          <a:noFill/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900" dirty="0">
                <a:solidFill>
                  <a:schemeClr val="accent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T Members: </a:t>
            </a:r>
          </a:p>
          <a:p>
            <a:pPr algn="ctr"/>
            <a:r>
              <a:rPr lang="en-US" sz="1900" dirty="0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urses, caregivers, house keeping, engineering, PD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6866968" y="2895600"/>
            <a:ext cx="2716305" cy="1406563"/>
          </a:xfrm>
          <a:prstGeom prst="roundRect">
            <a:avLst/>
          </a:prstGeom>
          <a:noFill/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900" dirty="0">
                <a:solidFill>
                  <a:schemeClr val="accent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C Members: </a:t>
            </a:r>
          </a:p>
          <a:p>
            <a:pPr algn="ctr"/>
            <a:r>
              <a:rPr lang="en-US" sz="1900" dirty="0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anagers –  clinical, facilities, education</a:t>
            </a:r>
          </a:p>
        </p:txBody>
      </p:sp>
      <p:sp>
        <p:nvSpPr>
          <p:cNvPr id="6" name="Right Arrow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387762" y="3428552"/>
            <a:ext cx="403412" cy="340659"/>
          </a:xfrm>
          <a:prstGeom prst="rightArrow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ight Arrow 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387762" y="5503881"/>
            <a:ext cx="403412" cy="340659"/>
          </a:xfrm>
          <a:prstGeom prst="rightArrow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262840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1514" y="49756"/>
            <a:ext cx="8675370" cy="883957"/>
          </a:xfrm>
        </p:spPr>
        <p:txBody>
          <a:bodyPr>
            <a:normAutofit/>
          </a:bodyPr>
          <a:lstStyle/>
          <a:p>
            <a:pPr algn="ctr"/>
            <a:r>
              <a:rPr lang="en-US" sz="3500" b="1" dirty="0">
                <a:solidFill>
                  <a:srgbClr val="002060"/>
                </a:solidFill>
                <a:latin typeface="Arial Narrow" panose="020B0606020202030204" pitchFamily="34" charset="0"/>
              </a:rPr>
              <a:t>Who should be on your SC?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19761" y="922973"/>
            <a:ext cx="4869700" cy="766445"/>
          </a:xfrm>
        </p:spPr>
        <p:txBody>
          <a:bodyPr vert="horz" lIns="91440" tIns="45720" rIns="91440" bIns="45720" rtlCol="0" anchor="b">
            <a:noAutofit/>
          </a:bodyPr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en-US" dirty="0">
                <a:solidFill>
                  <a:srgbClr val="0070C0"/>
                </a:solidFill>
                <a:latin typeface="Arial Narrow" panose="020B0606020202030204" pitchFamily="34" charset="0"/>
              </a:rPr>
              <a:t>KEY FUNCTIONS/ DEPARTMENTS </a:t>
            </a:r>
          </a:p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en-US" dirty="0">
                <a:solidFill>
                  <a:srgbClr val="0070C0"/>
                </a:solidFill>
                <a:latin typeface="Arial Narrow" panose="020B0606020202030204" pitchFamily="34" charset="0"/>
              </a:rPr>
              <a:t>TO REPRESENT</a:t>
            </a:r>
          </a:p>
        </p:txBody>
      </p:sp>
      <p:graphicFrame>
        <p:nvGraphicFramePr>
          <p:cNvPr id="7" name="Content Placeholder 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576827125"/>
              </p:ext>
            </p:extLst>
          </p:nvPr>
        </p:nvGraphicFramePr>
        <p:xfrm>
          <a:off x="692150" y="1724388"/>
          <a:ext cx="4256088" cy="56517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292435" y="909548"/>
            <a:ext cx="4363450" cy="793295"/>
          </a:xfrm>
        </p:spPr>
        <p:txBody>
          <a:bodyPr>
            <a:noAutofit/>
          </a:bodyPr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en-US" dirty="0">
                <a:solidFill>
                  <a:srgbClr val="0070C0"/>
                </a:solidFill>
                <a:latin typeface="Arial Narrow" panose="020B0606020202030204" pitchFamily="34" charset="0"/>
              </a:rPr>
              <a:t>KEY PEOPLE </a:t>
            </a:r>
          </a:p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en-US" dirty="0">
                <a:solidFill>
                  <a:srgbClr val="0070C0"/>
                </a:solidFill>
                <a:latin typeface="Arial Narrow" panose="020B0606020202030204" pitchFamily="34" charset="0"/>
              </a:rPr>
              <a:t>TO PARTICIPAT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66A8975E-8454-4B33-9341-3CD72456DB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5259704" y="3199458"/>
            <a:ext cx="4417695" cy="667442"/>
          </a:xfrm>
          <a:prstGeom prst="rect">
            <a:avLst/>
          </a:prstGeom>
        </p:spPr>
        <p:txBody>
          <a:bodyPr vert="horz" lIns="91440" tIns="45720" rIns="91440" bIns="45720" numCol="3" rtlCol="0" anchor="b">
            <a:noAutofit/>
          </a:bodyPr>
          <a:lstStyle>
            <a:lvl1pPr marL="0" indent="0" algn="l" defTabSz="1005840" rtl="0" eaLnBrk="1" latinLnBrk="0" hangingPunct="1">
              <a:lnSpc>
                <a:spcPct val="90000"/>
              </a:lnSpc>
              <a:spcBef>
                <a:spcPts val="1100"/>
              </a:spcBef>
              <a:buFont typeface="Arial" panose="020B0604020202020204" pitchFamily="34" charset="0"/>
              <a:buNone/>
              <a:defRPr sz="264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0" algn="l" defTabSz="1005840" rtl="0" eaLnBrk="1" latinLnBrk="0" hangingPunct="1">
              <a:lnSpc>
                <a:spcPct val="90000"/>
              </a:lnSpc>
              <a:spcBef>
                <a:spcPts val="550"/>
              </a:spcBef>
              <a:buFont typeface="Arial" panose="020B0604020202020204" pitchFamily="34" charset="0"/>
              <a:buNone/>
              <a:defRPr sz="2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05840" indent="0" algn="l" defTabSz="1005840" rtl="0" eaLnBrk="1" latinLnBrk="0" hangingPunct="1">
              <a:lnSpc>
                <a:spcPct val="90000"/>
              </a:lnSpc>
              <a:spcBef>
                <a:spcPts val="550"/>
              </a:spcBef>
              <a:buFont typeface="Arial" panose="020B0604020202020204" pitchFamily="34" charset="0"/>
              <a:buNone/>
              <a:defRPr sz="198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08760" indent="0" algn="l" defTabSz="1005840" rtl="0" eaLnBrk="1" latinLnBrk="0" hangingPunct="1">
              <a:lnSpc>
                <a:spcPct val="90000"/>
              </a:lnSpc>
              <a:spcBef>
                <a:spcPts val="550"/>
              </a:spcBef>
              <a:buFont typeface="Arial" panose="020B0604020202020204" pitchFamily="34" charset="0"/>
              <a:buNone/>
              <a:defRPr sz="176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11680" indent="0" algn="l" defTabSz="1005840" rtl="0" eaLnBrk="1" latinLnBrk="0" hangingPunct="1">
              <a:lnSpc>
                <a:spcPct val="90000"/>
              </a:lnSpc>
              <a:spcBef>
                <a:spcPts val="550"/>
              </a:spcBef>
              <a:buFont typeface="Arial" panose="020B0604020202020204" pitchFamily="34" charset="0"/>
              <a:buNone/>
              <a:defRPr sz="176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0" algn="l" defTabSz="1005840" rtl="0" eaLnBrk="1" latinLnBrk="0" hangingPunct="1">
              <a:lnSpc>
                <a:spcPct val="90000"/>
              </a:lnSpc>
              <a:spcBef>
                <a:spcPts val="550"/>
              </a:spcBef>
              <a:buFont typeface="Arial" panose="020B0604020202020204" pitchFamily="34" charset="0"/>
              <a:buNone/>
              <a:defRPr sz="176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17520" indent="0" algn="l" defTabSz="1005840" rtl="0" eaLnBrk="1" latinLnBrk="0" hangingPunct="1">
              <a:lnSpc>
                <a:spcPct val="90000"/>
              </a:lnSpc>
              <a:spcBef>
                <a:spcPts val="550"/>
              </a:spcBef>
              <a:buFont typeface="Arial" panose="020B0604020202020204" pitchFamily="34" charset="0"/>
              <a:buNone/>
              <a:defRPr sz="176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20440" indent="0" algn="l" defTabSz="1005840" rtl="0" eaLnBrk="1" latinLnBrk="0" hangingPunct="1">
              <a:lnSpc>
                <a:spcPct val="90000"/>
              </a:lnSpc>
              <a:spcBef>
                <a:spcPts val="550"/>
              </a:spcBef>
              <a:buFont typeface="Arial" panose="020B0604020202020204" pitchFamily="34" charset="0"/>
              <a:buNone/>
              <a:defRPr sz="176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23360" indent="0" algn="l" defTabSz="1005840" rtl="0" eaLnBrk="1" latinLnBrk="0" hangingPunct="1">
              <a:lnSpc>
                <a:spcPct val="90000"/>
              </a:lnSpc>
              <a:spcBef>
                <a:spcPts val="550"/>
              </a:spcBef>
              <a:buFont typeface="Arial" panose="020B0604020202020204" pitchFamily="34" charset="0"/>
              <a:buNone/>
              <a:defRPr sz="176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sz="1200" dirty="0">
              <a:solidFill>
                <a:srgbClr val="0070C0"/>
              </a:solidFill>
            </a:endParaRPr>
          </a:p>
        </p:txBody>
      </p:sp>
      <p:cxnSp>
        <p:nvCxnSpPr>
          <p:cNvPr id="6" name="Straight Connector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5090150" y="1742206"/>
            <a:ext cx="4560125" cy="0"/>
          </a:xfrm>
          <a:prstGeom prst="line">
            <a:avLst/>
          </a:prstGeom>
          <a:ln w="1905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5117273" y="2417124"/>
            <a:ext cx="4560125" cy="0"/>
          </a:xfrm>
          <a:prstGeom prst="line">
            <a:avLst/>
          </a:prstGeom>
          <a:ln w="1905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5133420" y="3153388"/>
            <a:ext cx="4560125" cy="0"/>
          </a:xfrm>
          <a:prstGeom prst="line">
            <a:avLst/>
          </a:prstGeom>
          <a:ln w="1905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5188487" y="3877788"/>
            <a:ext cx="4560125" cy="0"/>
          </a:xfrm>
          <a:prstGeom prst="line">
            <a:avLst/>
          </a:prstGeom>
          <a:ln w="1905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5204634" y="4607894"/>
            <a:ext cx="4560125" cy="0"/>
          </a:xfrm>
          <a:prstGeom prst="line">
            <a:avLst/>
          </a:prstGeom>
          <a:ln w="1905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5204634" y="5314702"/>
            <a:ext cx="4560125" cy="0"/>
          </a:xfrm>
          <a:prstGeom prst="line">
            <a:avLst/>
          </a:prstGeom>
          <a:ln w="1905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5188486" y="6015345"/>
            <a:ext cx="4560125" cy="0"/>
          </a:xfrm>
          <a:prstGeom prst="line">
            <a:avLst/>
          </a:prstGeom>
          <a:ln w="1905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5204634" y="6692240"/>
            <a:ext cx="4560125" cy="0"/>
          </a:xfrm>
          <a:prstGeom prst="line">
            <a:avLst/>
          </a:prstGeom>
          <a:ln w="1905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5204634" y="7358854"/>
            <a:ext cx="4560125" cy="0"/>
          </a:xfrm>
          <a:prstGeom prst="line">
            <a:avLst/>
          </a:prstGeom>
          <a:ln w="1905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itle 1">
            <a:extLst>
              <a:ext uri="{FF2B5EF4-FFF2-40B4-BE49-F238E27FC236}">
                <a16:creationId xmlns:a16="http://schemas.microsoft.com/office/drawing/2014/main" id="{8FA142DA-5C0E-4803-BF67-59B92818724E}"/>
              </a:ext>
            </a:extLst>
          </p:cNvPr>
          <p:cNvSpPr txBox="1">
            <a:spLocks/>
          </p:cNvSpPr>
          <p:nvPr/>
        </p:nvSpPr>
        <p:spPr>
          <a:xfrm>
            <a:off x="-42439" y="-313946"/>
            <a:ext cx="8675370" cy="88395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100584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4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500" b="1" dirty="0">
                <a:solidFill>
                  <a:srgbClr val="002060"/>
                </a:solidFill>
              </a:rPr>
              <a:t>RECRUITMENT TOO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CE3E410-C77E-4A1E-8E39-DCADAB0C52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122200" y="1783920"/>
            <a:ext cx="4516855" cy="606140"/>
          </a:xfrm>
          <a:prstGeom prst="rect">
            <a:avLst/>
          </a:prstGeom>
          <a:noFill/>
        </p:spPr>
        <p:txBody>
          <a:bodyPr wrap="square" rtlCol="0">
            <a:normAutofit/>
          </a:bodyPr>
          <a:lstStyle/>
          <a:p>
            <a:endParaRPr lang="en-US" sz="1400" dirty="0">
              <a:solidFill>
                <a:srgbClr val="00206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1A5F097-B9A8-4E8D-9392-472FD0DCE8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122200" y="6049374"/>
            <a:ext cx="4516855" cy="606140"/>
          </a:xfrm>
          <a:prstGeom prst="rect">
            <a:avLst/>
          </a:prstGeom>
          <a:noFill/>
        </p:spPr>
        <p:txBody>
          <a:bodyPr wrap="square" rtlCol="0">
            <a:normAutofit/>
          </a:bodyPr>
          <a:lstStyle/>
          <a:p>
            <a:endParaRPr lang="en-US" sz="1400" dirty="0">
              <a:solidFill>
                <a:srgbClr val="00206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3E65B561-1B2D-40E7-B8F4-87CB2310DB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122200" y="3227482"/>
            <a:ext cx="4516855" cy="606140"/>
          </a:xfrm>
          <a:prstGeom prst="rect">
            <a:avLst/>
          </a:prstGeom>
          <a:noFill/>
        </p:spPr>
        <p:txBody>
          <a:bodyPr wrap="square" rtlCol="0">
            <a:normAutofit/>
          </a:bodyPr>
          <a:lstStyle/>
          <a:p>
            <a:endParaRPr lang="en-US" sz="1400" dirty="0">
              <a:solidFill>
                <a:srgbClr val="00206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CAD0355E-49C0-4BE3-8E8F-B3D817729AE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122200" y="6715988"/>
            <a:ext cx="4516855" cy="606140"/>
          </a:xfrm>
          <a:prstGeom prst="rect">
            <a:avLst/>
          </a:prstGeom>
          <a:noFill/>
        </p:spPr>
        <p:txBody>
          <a:bodyPr wrap="square" rtlCol="0">
            <a:normAutofit/>
          </a:bodyPr>
          <a:lstStyle/>
          <a:p>
            <a:endParaRPr lang="en-US" sz="1400" dirty="0">
              <a:solidFill>
                <a:srgbClr val="00206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50C78E9-05AB-4031-9093-258732778D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122200" y="2486088"/>
            <a:ext cx="4516855" cy="606140"/>
          </a:xfrm>
          <a:prstGeom prst="rect">
            <a:avLst/>
          </a:prstGeom>
          <a:noFill/>
        </p:spPr>
        <p:txBody>
          <a:bodyPr wrap="square" rtlCol="0">
            <a:normAutofit/>
          </a:bodyPr>
          <a:lstStyle/>
          <a:p>
            <a:endParaRPr lang="en-US" sz="1400" dirty="0">
              <a:solidFill>
                <a:srgbClr val="00206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3B7681E9-AAD8-47DB-9064-41358DAB92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122200" y="5361954"/>
            <a:ext cx="4516855" cy="606140"/>
          </a:xfrm>
          <a:prstGeom prst="rect">
            <a:avLst/>
          </a:prstGeom>
          <a:noFill/>
        </p:spPr>
        <p:txBody>
          <a:bodyPr wrap="square" rtlCol="0">
            <a:normAutofit/>
          </a:bodyPr>
          <a:lstStyle/>
          <a:p>
            <a:endParaRPr lang="en-US" sz="1400" dirty="0">
              <a:solidFill>
                <a:srgbClr val="00206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C73F12D2-E7D6-4198-849F-5DA223766A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122200" y="4663599"/>
            <a:ext cx="4516855" cy="606140"/>
          </a:xfrm>
          <a:prstGeom prst="rect">
            <a:avLst/>
          </a:prstGeom>
          <a:noFill/>
        </p:spPr>
        <p:txBody>
          <a:bodyPr wrap="square" rtlCol="0">
            <a:normAutofit/>
          </a:bodyPr>
          <a:lstStyle/>
          <a:p>
            <a:endParaRPr lang="en-US" sz="1400" dirty="0">
              <a:solidFill>
                <a:srgbClr val="00206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0EF64293-98AC-4154-A9CE-45A5EC3EA73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122200" y="3951628"/>
            <a:ext cx="4516855" cy="606140"/>
          </a:xfrm>
          <a:prstGeom prst="rect">
            <a:avLst/>
          </a:prstGeom>
          <a:noFill/>
        </p:spPr>
        <p:txBody>
          <a:bodyPr wrap="square" rtlCol="0">
            <a:normAutofit/>
          </a:bodyPr>
          <a:lstStyle/>
          <a:p>
            <a:endParaRPr lang="en-US" sz="1400" dirty="0">
              <a:solidFill>
                <a:srgbClr val="00206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806388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1514" y="49756"/>
            <a:ext cx="8675370" cy="883957"/>
          </a:xfrm>
        </p:spPr>
        <p:txBody>
          <a:bodyPr>
            <a:normAutofit/>
          </a:bodyPr>
          <a:lstStyle/>
          <a:p>
            <a:pPr algn="ctr"/>
            <a:r>
              <a:rPr lang="en-US" sz="3500" b="1" dirty="0">
                <a:solidFill>
                  <a:srgbClr val="002060"/>
                </a:solidFill>
                <a:latin typeface="Arial Narrow" panose="020B0606020202030204" pitchFamily="34" charset="0"/>
              </a:rPr>
              <a:t>Who should be on your DT?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19761" y="922973"/>
            <a:ext cx="4869700" cy="766445"/>
          </a:xfrm>
        </p:spPr>
        <p:txBody>
          <a:bodyPr vert="horz" lIns="91440" tIns="45720" rIns="91440" bIns="45720" rtlCol="0" anchor="b">
            <a:noAutofit/>
          </a:bodyPr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en-US" dirty="0">
                <a:solidFill>
                  <a:srgbClr val="0070C0"/>
                </a:solidFill>
                <a:latin typeface="Arial Narrow" panose="020B0606020202030204" pitchFamily="34" charset="0"/>
              </a:rPr>
              <a:t>KEY FUNCTIONS/ DEPARTMENTS </a:t>
            </a:r>
          </a:p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en-US" dirty="0">
                <a:solidFill>
                  <a:srgbClr val="0070C0"/>
                </a:solidFill>
                <a:latin typeface="Arial Narrow" panose="020B0606020202030204" pitchFamily="34" charset="0"/>
              </a:rPr>
              <a:t>TO REPRESENT</a:t>
            </a:r>
          </a:p>
        </p:txBody>
      </p:sp>
      <p:graphicFrame>
        <p:nvGraphicFramePr>
          <p:cNvPr id="7" name="Content Placeholder 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3032441902"/>
              </p:ext>
            </p:extLst>
          </p:nvPr>
        </p:nvGraphicFramePr>
        <p:xfrm>
          <a:off x="692150" y="1724388"/>
          <a:ext cx="4256088" cy="56517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292435" y="909548"/>
            <a:ext cx="4363450" cy="793295"/>
          </a:xfrm>
        </p:spPr>
        <p:txBody>
          <a:bodyPr>
            <a:noAutofit/>
          </a:bodyPr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en-US" dirty="0">
                <a:solidFill>
                  <a:srgbClr val="0070C0"/>
                </a:solidFill>
                <a:latin typeface="Arial Narrow" panose="020B0606020202030204" pitchFamily="34" charset="0"/>
              </a:rPr>
              <a:t>KEY PEOPLE </a:t>
            </a:r>
          </a:p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en-US" dirty="0">
                <a:solidFill>
                  <a:srgbClr val="0070C0"/>
                </a:solidFill>
                <a:latin typeface="Arial Narrow" panose="020B0606020202030204" pitchFamily="34" charset="0"/>
              </a:rPr>
              <a:t>TO PARTICIPAT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66A8975E-8454-4B33-9341-3CD72456DB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5259704" y="3199458"/>
            <a:ext cx="4417695" cy="667442"/>
          </a:xfrm>
          <a:prstGeom prst="rect">
            <a:avLst/>
          </a:prstGeom>
        </p:spPr>
        <p:txBody>
          <a:bodyPr vert="horz" lIns="91440" tIns="45720" rIns="91440" bIns="45720" numCol="3" rtlCol="0" anchor="b">
            <a:noAutofit/>
          </a:bodyPr>
          <a:lstStyle>
            <a:lvl1pPr marL="0" indent="0" algn="l" defTabSz="1005840" rtl="0" eaLnBrk="1" latinLnBrk="0" hangingPunct="1">
              <a:lnSpc>
                <a:spcPct val="90000"/>
              </a:lnSpc>
              <a:spcBef>
                <a:spcPts val="1100"/>
              </a:spcBef>
              <a:buFont typeface="Arial" panose="020B0604020202020204" pitchFamily="34" charset="0"/>
              <a:buNone/>
              <a:defRPr sz="264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0" algn="l" defTabSz="1005840" rtl="0" eaLnBrk="1" latinLnBrk="0" hangingPunct="1">
              <a:lnSpc>
                <a:spcPct val="90000"/>
              </a:lnSpc>
              <a:spcBef>
                <a:spcPts val="550"/>
              </a:spcBef>
              <a:buFont typeface="Arial" panose="020B0604020202020204" pitchFamily="34" charset="0"/>
              <a:buNone/>
              <a:defRPr sz="2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05840" indent="0" algn="l" defTabSz="1005840" rtl="0" eaLnBrk="1" latinLnBrk="0" hangingPunct="1">
              <a:lnSpc>
                <a:spcPct val="90000"/>
              </a:lnSpc>
              <a:spcBef>
                <a:spcPts val="550"/>
              </a:spcBef>
              <a:buFont typeface="Arial" panose="020B0604020202020204" pitchFamily="34" charset="0"/>
              <a:buNone/>
              <a:defRPr sz="198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08760" indent="0" algn="l" defTabSz="1005840" rtl="0" eaLnBrk="1" latinLnBrk="0" hangingPunct="1">
              <a:lnSpc>
                <a:spcPct val="90000"/>
              </a:lnSpc>
              <a:spcBef>
                <a:spcPts val="550"/>
              </a:spcBef>
              <a:buFont typeface="Arial" panose="020B0604020202020204" pitchFamily="34" charset="0"/>
              <a:buNone/>
              <a:defRPr sz="176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11680" indent="0" algn="l" defTabSz="1005840" rtl="0" eaLnBrk="1" latinLnBrk="0" hangingPunct="1">
              <a:lnSpc>
                <a:spcPct val="90000"/>
              </a:lnSpc>
              <a:spcBef>
                <a:spcPts val="550"/>
              </a:spcBef>
              <a:buFont typeface="Arial" panose="020B0604020202020204" pitchFamily="34" charset="0"/>
              <a:buNone/>
              <a:defRPr sz="176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0" algn="l" defTabSz="1005840" rtl="0" eaLnBrk="1" latinLnBrk="0" hangingPunct="1">
              <a:lnSpc>
                <a:spcPct val="90000"/>
              </a:lnSpc>
              <a:spcBef>
                <a:spcPts val="550"/>
              </a:spcBef>
              <a:buFont typeface="Arial" panose="020B0604020202020204" pitchFamily="34" charset="0"/>
              <a:buNone/>
              <a:defRPr sz="176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17520" indent="0" algn="l" defTabSz="1005840" rtl="0" eaLnBrk="1" latinLnBrk="0" hangingPunct="1">
              <a:lnSpc>
                <a:spcPct val="90000"/>
              </a:lnSpc>
              <a:spcBef>
                <a:spcPts val="550"/>
              </a:spcBef>
              <a:buFont typeface="Arial" panose="020B0604020202020204" pitchFamily="34" charset="0"/>
              <a:buNone/>
              <a:defRPr sz="176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20440" indent="0" algn="l" defTabSz="1005840" rtl="0" eaLnBrk="1" latinLnBrk="0" hangingPunct="1">
              <a:lnSpc>
                <a:spcPct val="90000"/>
              </a:lnSpc>
              <a:spcBef>
                <a:spcPts val="550"/>
              </a:spcBef>
              <a:buFont typeface="Arial" panose="020B0604020202020204" pitchFamily="34" charset="0"/>
              <a:buNone/>
              <a:defRPr sz="176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23360" indent="0" algn="l" defTabSz="1005840" rtl="0" eaLnBrk="1" latinLnBrk="0" hangingPunct="1">
              <a:lnSpc>
                <a:spcPct val="90000"/>
              </a:lnSpc>
              <a:spcBef>
                <a:spcPts val="550"/>
              </a:spcBef>
              <a:buFont typeface="Arial" panose="020B0604020202020204" pitchFamily="34" charset="0"/>
              <a:buNone/>
              <a:defRPr sz="176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sz="1200" dirty="0">
              <a:solidFill>
                <a:srgbClr val="0070C0"/>
              </a:solidFill>
            </a:endParaRPr>
          </a:p>
        </p:txBody>
      </p:sp>
      <p:cxnSp>
        <p:nvCxnSpPr>
          <p:cNvPr id="6" name="Straight Connector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5090150" y="1742206"/>
            <a:ext cx="4560125" cy="0"/>
          </a:xfrm>
          <a:prstGeom prst="line">
            <a:avLst/>
          </a:prstGeom>
          <a:ln w="1905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5117273" y="2417124"/>
            <a:ext cx="4560125" cy="0"/>
          </a:xfrm>
          <a:prstGeom prst="line">
            <a:avLst/>
          </a:prstGeom>
          <a:ln w="1905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5133420" y="3153388"/>
            <a:ext cx="4560125" cy="0"/>
          </a:xfrm>
          <a:prstGeom prst="line">
            <a:avLst/>
          </a:prstGeom>
          <a:ln w="1905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5188487" y="3877788"/>
            <a:ext cx="4560125" cy="0"/>
          </a:xfrm>
          <a:prstGeom prst="line">
            <a:avLst/>
          </a:prstGeom>
          <a:ln w="1905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5204634" y="4607894"/>
            <a:ext cx="4560125" cy="0"/>
          </a:xfrm>
          <a:prstGeom prst="line">
            <a:avLst/>
          </a:prstGeom>
          <a:ln w="1905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5204634" y="5314702"/>
            <a:ext cx="4560125" cy="0"/>
          </a:xfrm>
          <a:prstGeom prst="line">
            <a:avLst/>
          </a:prstGeom>
          <a:ln w="1905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5188486" y="6015345"/>
            <a:ext cx="4560125" cy="0"/>
          </a:xfrm>
          <a:prstGeom prst="line">
            <a:avLst/>
          </a:prstGeom>
          <a:ln w="1905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5204634" y="6692240"/>
            <a:ext cx="4560125" cy="0"/>
          </a:xfrm>
          <a:prstGeom prst="line">
            <a:avLst/>
          </a:prstGeom>
          <a:ln w="1905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5204634" y="7358854"/>
            <a:ext cx="4560125" cy="0"/>
          </a:xfrm>
          <a:prstGeom prst="line">
            <a:avLst/>
          </a:prstGeom>
          <a:ln w="1905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itle 1">
            <a:extLst>
              <a:ext uri="{FF2B5EF4-FFF2-40B4-BE49-F238E27FC236}">
                <a16:creationId xmlns:a16="http://schemas.microsoft.com/office/drawing/2014/main" id="{8FA142DA-5C0E-4803-BF67-59B92818724E}"/>
              </a:ext>
            </a:extLst>
          </p:cNvPr>
          <p:cNvSpPr txBox="1">
            <a:spLocks/>
          </p:cNvSpPr>
          <p:nvPr/>
        </p:nvSpPr>
        <p:spPr>
          <a:xfrm>
            <a:off x="-42439" y="-313946"/>
            <a:ext cx="8675370" cy="88395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100584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4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500" b="1" dirty="0">
                <a:solidFill>
                  <a:srgbClr val="002060"/>
                </a:solidFill>
              </a:rPr>
              <a:t>RECRUITMENT TOO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CE3E410-C77E-4A1E-8E39-DCADAB0C52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122200" y="1783920"/>
            <a:ext cx="4516855" cy="606140"/>
          </a:xfrm>
          <a:prstGeom prst="rect">
            <a:avLst/>
          </a:prstGeom>
          <a:noFill/>
        </p:spPr>
        <p:txBody>
          <a:bodyPr wrap="square" rtlCol="0">
            <a:normAutofit/>
          </a:bodyPr>
          <a:lstStyle/>
          <a:p>
            <a:endParaRPr lang="en-US" sz="1400" dirty="0">
              <a:solidFill>
                <a:srgbClr val="00206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1A5F097-B9A8-4E8D-9392-472FD0DCE8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122200" y="6049374"/>
            <a:ext cx="4516855" cy="606140"/>
          </a:xfrm>
          <a:prstGeom prst="rect">
            <a:avLst/>
          </a:prstGeom>
          <a:noFill/>
        </p:spPr>
        <p:txBody>
          <a:bodyPr wrap="square" rtlCol="0">
            <a:normAutofit/>
          </a:bodyPr>
          <a:lstStyle/>
          <a:p>
            <a:endParaRPr lang="en-US" sz="1400" dirty="0">
              <a:solidFill>
                <a:srgbClr val="00206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3E65B561-1B2D-40E7-B8F4-87CB2310DB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122200" y="3227482"/>
            <a:ext cx="4516855" cy="606140"/>
          </a:xfrm>
          <a:prstGeom prst="rect">
            <a:avLst/>
          </a:prstGeom>
          <a:noFill/>
        </p:spPr>
        <p:txBody>
          <a:bodyPr wrap="square" rtlCol="0">
            <a:normAutofit/>
          </a:bodyPr>
          <a:lstStyle/>
          <a:p>
            <a:endParaRPr lang="en-US" sz="1400" dirty="0">
              <a:solidFill>
                <a:srgbClr val="00206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CAD0355E-49C0-4BE3-8E8F-B3D817729AE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122200" y="6715988"/>
            <a:ext cx="4516855" cy="606140"/>
          </a:xfrm>
          <a:prstGeom prst="rect">
            <a:avLst/>
          </a:prstGeom>
          <a:noFill/>
        </p:spPr>
        <p:txBody>
          <a:bodyPr wrap="square" rtlCol="0">
            <a:normAutofit/>
          </a:bodyPr>
          <a:lstStyle/>
          <a:p>
            <a:endParaRPr lang="en-US" sz="1400" dirty="0">
              <a:solidFill>
                <a:srgbClr val="00206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50C78E9-05AB-4031-9093-258732778D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122200" y="2486088"/>
            <a:ext cx="4516855" cy="606140"/>
          </a:xfrm>
          <a:prstGeom prst="rect">
            <a:avLst/>
          </a:prstGeom>
          <a:noFill/>
        </p:spPr>
        <p:txBody>
          <a:bodyPr wrap="square" rtlCol="0">
            <a:normAutofit/>
          </a:bodyPr>
          <a:lstStyle/>
          <a:p>
            <a:endParaRPr lang="en-US" sz="1400" dirty="0">
              <a:solidFill>
                <a:srgbClr val="00206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3B7681E9-AAD8-47DB-9064-41358DAB92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122200" y="5361954"/>
            <a:ext cx="4516855" cy="606140"/>
          </a:xfrm>
          <a:prstGeom prst="rect">
            <a:avLst/>
          </a:prstGeom>
          <a:noFill/>
        </p:spPr>
        <p:txBody>
          <a:bodyPr wrap="square" rtlCol="0">
            <a:normAutofit/>
          </a:bodyPr>
          <a:lstStyle/>
          <a:p>
            <a:endParaRPr lang="en-US" sz="1400" dirty="0">
              <a:solidFill>
                <a:srgbClr val="00206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C73F12D2-E7D6-4198-849F-5DA223766A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122200" y="4663599"/>
            <a:ext cx="4516855" cy="606140"/>
          </a:xfrm>
          <a:prstGeom prst="rect">
            <a:avLst/>
          </a:prstGeom>
          <a:noFill/>
        </p:spPr>
        <p:txBody>
          <a:bodyPr wrap="square" rtlCol="0">
            <a:normAutofit/>
          </a:bodyPr>
          <a:lstStyle/>
          <a:p>
            <a:endParaRPr lang="en-US" sz="1400" dirty="0">
              <a:solidFill>
                <a:srgbClr val="00206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0EF64293-98AC-4154-A9CE-45A5EC3EA73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122200" y="3951628"/>
            <a:ext cx="4516855" cy="606140"/>
          </a:xfrm>
          <a:prstGeom prst="rect">
            <a:avLst/>
          </a:prstGeom>
          <a:noFill/>
        </p:spPr>
        <p:txBody>
          <a:bodyPr wrap="square" rtlCol="0">
            <a:normAutofit/>
          </a:bodyPr>
          <a:lstStyle/>
          <a:p>
            <a:endParaRPr lang="en-US" sz="1400" dirty="0">
              <a:solidFill>
                <a:srgbClr val="00206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69704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CdZlRS0CZ4x.mJOu_J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JU0Zmy_0eQhHeoSdUc9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ykVFUMZkW4l.Gi3kV6Z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HSrPjkRIEibp.OzF3WkY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8zmRdeHTEam3udcdBPIm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.9JwP1KfE.kSfmFAqOym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pfBURgRkKQPXD78lxNO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xn1pidLfkGMEqveWNW8H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JiLLdHmIkyPBdBiNtvvk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ELICvdPz0qWf4IC8.Ns9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i51ltcCEiuWI4_7BVjy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AN36nkM0.MYJkOhAgV2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oXYtl8EUmrqseG1q39C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10Z0XCdkuQvnY7Jbli3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9ekWeMS00qjjjJfsIkx.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TsORh0Ms0KiR0xg_IEeU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0CPb7Syk22sj_nhffXng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5_UMass_CF_UMO006">
  <a:themeElements>
    <a:clrScheme name="Current">
      <a:dk1>
        <a:srgbClr val="000000"/>
      </a:dk1>
      <a:lt1>
        <a:srgbClr val="FFFFFF"/>
      </a:lt1>
      <a:dk2>
        <a:srgbClr val="001F48"/>
      </a:dk2>
      <a:lt2>
        <a:srgbClr val="FFFFFF"/>
      </a:lt2>
      <a:accent1>
        <a:srgbClr val="B9CCDF"/>
      </a:accent1>
      <a:accent2>
        <a:srgbClr val="5B81C5"/>
      </a:accent2>
      <a:accent3>
        <a:srgbClr val="183263"/>
      </a:accent3>
      <a:accent4>
        <a:srgbClr val="77933C"/>
      </a:accent4>
      <a:accent5>
        <a:srgbClr val="335490"/>
      </a:accent5>
      <a:accent6>
        <a:srgbClr val="808080"/>
      </a:accent6>
      <a:hlink>
        <a:srgbClr val="183263"/>
      </a:hlink>
      <a:folHlink>
        <a:srgbClr val="77933C"/>
      </a:folHlink>
    </a:clrScheme>
    <a:fontScheme name="curre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1F48"/>
        </a:dk2>
        <a:lt2>
          <a:srgbClr val="FFFFFF"/>
        </a:lt2>
        <a:accent1>
          <a:srgbClr val="B9CCDF"/>
        </a:accent1>
        <a:accent2>
          <a:srgbClr val="5B81C5"/>
        </a:accent2>
        <a:accent3>
          <a:srgbClr val="183263"/>
        </a:accent3>
        <a:accent4>
          <a:srgbClr val="77933C"/>
        </a:accent4>
        <a:accent5>
          <a:srgbClr val="335490"/>
        </a:accent5>
        <a:accent6>
          <a:srgbClr val="808080"/>
        </a:accent6>
        <a:hlink>
          <a:srgbClr val="183263"/>
        </a:hlink>
        <a:folHlink>
          <a:srgbClr val="77933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35</TotalTime>
  <Words>483</Words>
  <Application>Microsoft Office PowerPoint</Application>
  <PresentationFormat>Custom</PresentationFormat>
  <Paragraphs>97</Paragraphs>
  <Slides>8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6" baseType="lpstr">
      <vt:lpstr>Arial</vt:lpstr>
      <vt:lpstr>Arial Narrow</vt:lpstr>
      <vt:lpstr>Calibri</vt:lpstr>
      <vt:lpstr>Calibri Light</vt:lpstr>
      <vt:lpstr>Verdana</vt:lpstr>
      <vt:lpstr>Office Theme</vt:lpstr>
      <vt:lpstr>5_UMass_CF_UMO006</vt:lpstr>
      <vt:lpstr>think-cell Slide</vt:lpstr>
      <vt:lpstr>REMOVE THIS SLIDE INSTRUCTIONS</vt:lpstr>
      <vt:lpstr>GUIDE FOR STEERING COMMITTEE AND DESIGN TEAM FORMATION</vt:lpstr>
      <vt:lpstr>SC-DT Participatory Structure   Large, organizational initiative</vt:lpstr>
      <vt:lpstr>EXAMPLE  Safe Patient Handling Lean Initiative:  Large, organizational initiative</vt:lpstr>
      <vt:lpstr>SC-DT Participatory Structure   Small, unit-based initiative</vt:lpstr>
      <vt:lpstr>EXAMPLE Safe Patient Handling Lean Initiative:  Single hospital unit</vt:lpstr>
      <vt:lpstr>Who should be on your SC?</vt:lpstr>
      <vt:lpstr>Who should be on your DT?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orocho, Cesar F</dc:creator>
  <cp:lastModifiedBy>Coury, Daniel M</cp:lastModifiedBy>
  <cp:revision>127</cp:revision>
  <cp:lastPrinted>2019-05-29T20:08:44Z</cp:lastPrinted>
  <dcterms:created xsi:type="dcterms:W3CDTF">2019-05-22T23:44:31Z</dcterms:created>
  <dcterms:modified xsi:type="dcterms:W3CDTF">2022-07-13T13:51:24Z</dcterms:modified>
</cp:coreProperties>
</file>